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v" ContentType="video/x-ms-wm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699" r:id="rId3"/>
    <p:sldMasterId id="2147483701" r:id="rId4"/>
    <p:sldMasterId id="2147483648" r:id="rId5"/>
  </p:sldMasterIdLst>
  <p:notesMasterIdLst>
    <p:notesMasterId r:id="rId57"/>
  </p:notesMasterIdLst>
  <p:sldIdLst>
    <p:sldId id="335" r:id="rId6"/>
    <p:sldId id="337" r:id="rId7"/>
    <p:sldId id="338" r:id="rId8"/>
    <p:sldId id="339" r:id="rId9"/>
    <p:sldId id="340" r:id="rId10"/>
    <p:sldId id="342" r:id="rId11"/>
    <p:sldId id="343" r:id="rId12"/>
    <p:sldId id="344" r:id="rId13"/>
    <p:sldId id="345" r:id="rId14"/>
    <p:sldId id="262" r:id="rId15"/>
    <p:sldId id="346" r:id="rId16"/>
    <p:sldId id="347" r:id="rId17"/>
    <p:sldId id="377" r:id="rId18"/>
    <p:sldId id="348" r:id="rId19"/>
    <p:sldId id="297" r:id="rId20"/>
    <p:sldId id="305" r:id="rId21"/>
    <p:sldId id="350" r:id="rId22"/>
    <p:sldId id="325" r:id="rId23"/>
    <p:sldId id="351" r:id="rId24"/>
    <p:sldId id="326" r:id="rId25"/>
    <p:sldId id="352" r:id="rId26"/>
    <p:sldId id="327" r:id="rId27"/>
    <p:sldId id="353" r:id="rId28"/>
    <p:sldId id="303" r:id="rId29"/>
    <p:sldId id="354" r:id="rId30"/>
    <p:sldId id="355" r:id="rId31"/>
    <p:sldId id="373" r:id="rId32"/>
    <p:sldId id="374" r:id="rId33"/>
    <p:sldId id="376" r:id="rId34"/>
    <p:sldId id="356" r:id="rId35"/>
    <p:sldId id="311" r:id="rId36"/>
    <p:sldId id="357" r:id="rId37"/>
    <p:sldId id="358" r:id="rId38"/>
    <p:sldId id="375" r:id="rId39"/>
    <p:sldId id="359" r:id="rId40"/>
    <p:sldId id="360" r:id="rId41"/>
    <p:sldId id="263" r:id="rId42"/>
    <p:sldId id="266" r:id="rId43"/>
    <p:sldId id="267" r:id="rId44"/>
    <p:sldId id="268" r:id="rId45"/>
    <p:sldId id="361" r:id="rId46"/>
    <p:sldId id="362" r:id="rId47"/>
    <p:sldId id="363" r:id="rId48"/>
    <p:sldId id="364" r:id="rId49"/>
    <p:sldId id="365" r:id="rId50"/>
    <p:sldId id="366" r:id="rId51"/>
    <p:sldId id="367" r:id="rId52"/>
    <p:sldId id="368" r:id="rId53"/>
    <p:sldId id="370" r:id="rId54"/>
    <p:sldId id="369" r:id="rId55"/>
    <p:sldId id="372" r:id="rId5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CE2D4"/>
    <a:srgbClr val="A7A7A7"/>
    <a:srgbClr val="56AB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705389-7F02-CB4F-9E67-EEE75C98A006}" v="2" dt="2022-11-16T15:23:54.102"/>
  </p1510:revLst>
</p1510:revInfo>
</file>

<file path=ppt/tableStyles.xml><?xml version="1.0" encoding="utf-8"?>
<a:tblStyleLst xmlns:a="http://schemas.openxmlformats.org/drawingml/2006/main" def="{5C22544A-7EE6-4342-B048-85BDC9FD1C3A}">
  <a:tblStyle styleId="{5C22544A-7EE6-4342-B048-85BDC9FD1C3A}" styleName="Kiểu Trung bình 2 - Màu chủ đề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41"/>
    <p:restoredTop sz="73736"/>
  </p:normalViewPr>
  <p:slideViewPr>
    <p:cSldViewPr snapToGrid="0">
      <p:cViewPr>
        <p:scale>
          <a:sx n="82" d="100"/>
          <a:sy n="82" d="100"/>
        </p:scale>
        <p:origin x="264" y="2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an Nguyen - Y17" userId="fcceac3d-5680-48d6-8dcd-178a9cd0e1b0" providerId="ADAL" clId="{6635BE88-E622-4209-B003-D5FF412B30B6}"/>
    <pc:docChg chg="undo redo custSel addSld delSld modSld sldOrd addMainMaster modMainMaster">
      <pc:chgData name="Quan Nguyen - Y17" userId="fcceac3d-5680-48d6-8dcd-178a9cd0e1b0" providerId="ADAL" clId="{6635BE88-E622-4209-B003-D5FF412B30B6}" dt="2022-10-11T13:09:43.544" v="4282" actId="14100"/>
      <pc:docMkLst>
        <pc:docMk/>
      </pc:docMkLst>
      <pc:sldChg chg="modSp del mod">
        <pc:chgData name="Quan Nguyen - Y17" userId="fcceac3d-5680-48d6-8dcd-178a9cd0e1b0" providerId="ADAL" clId="{6635BE88-E622-4209-B003-D5FF412B30B6}" dt="2022-10-10T09:38:10.056" v="382" actId="47"/>
        <pc:sldMkLst>
          <pc:docMk/>
          <pc:sldMk cId="613743157" sldId="259"/>
        </pc:sldMkLst>
        <pc:picChg chg="mod">
          <ac:chgData name="Quan Nguyen - Y17" userId="fcceac3d-5680-48d6-8dcd-178a9cd0e1b0" providerId="ADAL" clId="{6635BE88-E622-4209-B003-D5FF412B30B6}" dt="2022-10-10T09:11:44.760" v="23" actId="1076"/>
          <ac:picMkLst>
            <pc:docMk/>
            <pc:sldMk cId="613743157" sldId="259"/>
            <ac:picMk id="5" creationId="{DFF46A50-842D-3BB1-5BB4-0242E0D51C85}"/>
          </ac:picMkLst>
        </pc:picChg>
      </pc:sldChg>
      <pc:sldChg chg="modSp del">
        <pc:chgData name="Quan Nguyen - Y17" userId="fcceac3d-5680-48d6-8dcd-178a9cd0e1b0" providerId="ADAL" clId="{6635BE88-E622-4209-B003-D5FF412B30B6}" dt="2022-10-10T09:39:06.043" v="385" actId="47"/>
        <pc:sldMkLst>
          <pc:docMk/>
          <pc:sldMk cId="2930252204" sldId="260"/>
        </pc:sldMkLst>
        <pc:spChg chg="mod">
          <ac:chgData name="Quan Nguyen - Y17" userId="fcceac3d-5680-48d6-8dcd-178a9cd0e1b0" providerId="ADAL" clId="{6635BE88-E622-4209-B003-D5FF412B30B6}" dt="2022-10-10T09:18:12.497" v="139"/>
          <ac:spMkLst>
            <pc:docMk/>
            <pc:sldMk cId="2930252204" sldId="260"/>
            <ac:spMk id="2" creationId="{404AAF6A-CA4E-EFD0-A6B9-DAD816ABBAB1}"/>
          </ac:spMkLst>
        </pc:spChg>
      </pc:sldChg>
      <pc:sldChg chg="modSp del mod">
        <pc:chgData name="Quan Nguyen - Y17" userId="fcceac3d-5680-48d6-8dcd-178a9cd0e1b0" providerId="ADAL" clId="{6635BE88-E622-4209-B003-D5FF412B30B6}" dt="2022-10-10T10:36:26.481" v="1271" actId="47"/>
        <pc:sldMkLst>
          <pc:docMk/>
          <pc:sldMk cId="1288002987" sldId="261"/>
        </pc:sldMkLst>
        <pc:spChg chg="mod">
          <ac:chgData name="Quan Nguyen - Y17" userId="fcceac3d-5680-48d6-8dcd-178a9cd0e1b0" providerId="ADAL" clId="{6635BE88-E622-4209-B003-D5FF412B30B6}" dt="2022-10-10T09:18:12.497" v="139"/>
          <ac:spMkLst>
            <pc:docMk/>
            <pc:sldMk cId="1288002987" sldId="261"/>
            <ac:spMk id="2" creationId="{74D1451B-78B0-90D2-1A52-650F56464841}"/>
          </ac:spMkLst>
        </pc:spChg>
      </pc:sldChg>
      <pc:sldChg chg="modSp">
        <pc:chgData name="Quan Nguyen - Y17" userId="fcceac3d-5680-48d6-8dcd-178a9cd0e1b0" providerId="ADAL" clId="{6635BE88-E622-4209-B003-D5FF412B30B6}" dt="2022-10-10T09:18:12.497" v="139"/>
        <pc:sldMkLst>
          <pc:docMk/>
          <pc:sldMk cId="2479612113" sldId="262"/>
        </pc:sldMkLst>
        <pc:spChg chg="mod">
          <ac:chgData name="Quan Nguyen - Y17" userId="fcceac3d-5680-48d6-8dcd-178a9cd0e1b0" providerId="ADAL" clId="{6635BE88-E622-4209-B003-D5FF412B30B6}" dt="2022-10-10T09:18:12.497" v="139"/>
          <ac:spMkLst>
            <pc:docMk/>
            <pc:sldMk cId="2479612113" sldId="262"/>
            <ac:spMk id="2" creationId="{52391E5D-A377-9F6B-C718-F57E1A38F2BF}"/>
          </ac:spMkLst>
        </pc:spChg>
      </pc:sldChg>
      <pc:sldChg chg="addSp delSp modSp mod">
        <pc:chgData name="Quan Nguyen - Y17" userId="fcceac3d-5680-48d6-8dcd-178a9cd0e1b0" providerId="ADAL" clId="{6635BE88-E622-4209-B003-D5FF412B30B6}" dt="2022-10-10T11:28:16.092" v="2128" actId="167"/>
        <pc:sldMkLst>
          <pc:docMk/>
          <pc:sldMk cId="763149414" sldId="263"/>
        </pc:sldMkLst>
        <pc:spChg chg="del mod">
          <ac:chgData name="Quan Nguyen - Y17" userId="fcceac3d-5680-48d6-8dcd-178a9cd0e1b0" providerId="ADAL" clId="{6635BE88-E622-4209-B003-D5FF412B30B6}" dt="2022-10-10T11:27:03.826" v="2072" actId="478"/>
          <ac:spMkLst>
            <pc:docMk/>
            <pc:sldMk cId="763149414" sldId="263"/>
            <ac:spMk id="2" creationId="{0E47144F-2FC3-285A-826C-30C56416D01F}"/>
          </ac:spMkLst>
        </pc:spChg>
        <pc:spChg chg="mod">
          <ac:chgData name="Quan Nguyen - Y17" userId="fcceac3d-5680-48d6-8dcd-178a9cd0e1b0" providerId="ADAL" clId="{6635BE88-E622-4209-B003-D5FF412B30B6}" dt="2022-10-10T11:27:41.374" v="2112" actId="113"/>
          <ac:spMkLst>
            <pc:docMk/>
            <pc:sldMk cId="763149414" sldId="263"/>
            <ac:spMk id="3" creationId="{A62706C6-E26A-D042-7BA3-FAD48E57BD57}"/>
          </ac:spMkLst>
        </pc:spChg>
        <pc:spChg chg="add del mod">
          <ac:chgData name="Quan Nguyen - Y17" userId="fcceac3d-5680-48d6-8dcd-178a9cd0e1b0" providerId="ADAL" clId="{6635BE88-E622-4209-B003-D5FF412B30B6}" dt="2022-10-10T11:27:06.925" v="2073" actId="478"/>
          <ac:spMkLst>
            <pc:docMk/>
            <pc:sldMk cId="763149414" sldId="263"/>
            <ac:spMk id="6" creationId="{4F0F7D3C-1F28-5CC8-E5EB-737489B51D76}"/>
          </ac:spMkLst>
        </pc:spChg>
        <pc:spChg chg="mod">
          <ac:chgData name="Quan Nguyen - Y17" userId="fcceac3d-5680-48d6-8dcd-178a9cd0e1b0" providerId="ADAL" clId="{6635BE88-E622-4209-B003-D5FF412B30B6}" dt="2022-10-10T11:27:07.824" v="2074"/>
          <ac:spMkLst>
            <pc:docMk/>
            <pc:sldMk cId="763149414" sldId="263"/>
            <ac:spMk id="9" creationId="{2482FBEE-111F-3DFB-DC77-57FCB9918E74}"/>
          </ac:spMkLst>
        </pc:spChg>
        <pc:spChg chg="mod">
          <ac:chgData name="Quan Nguyen - Y17" userId="fcceac3d-5680-48d6-8dcd-178a9cd0e1b0" providerId="ADAL" clId="{6635BE88-E622-4209-B003-D5FF412B30B6}" dt="2022-10-10T11:27:16.190" v="2107" actId="20577"/>
          <ac:spMkLst>
            <pc:docMk/>
            <pc:sldMk cId="763149414" sldId="263"/>
            <ac:spMk id="10" creationId="{2BDCECE8-051E-177A-F163-6598B9F53E01}"/>
          </ac:spMkLst>
        </pc:spChg>
        <pc:spChg chg="add mod">
          <ac:chgData name="Quan Nguyen - Y17" userId="fcceac3d-5680-48d6-8dcd-178a9cd0e1b0" providerId="ADAL" clId="{6635BE88-E622-4209-B003-D5FF412B30B6}" dt="2022-10-10T11:28:12.265" v="2127"/>
          <ac:spMkLst>
            <pc:docMk/>
            <pc:sldMk cId="763149414" sldId="263"/>
            <ac:spMk id="11" creationId="{A5CBE78D-8563-02E8-C14B-B50DC1D13235}"/>
          </ac:spMkLst>
        </pc:spChg>
        <pc:spChg chg="add mod ord">
          <ac:chgData name="Quan Nguyen - Y17" userId="fcceac3d-5680-48d6-8dcd-178a9cd0e1b0" providerId="ADAL" clId="{6635BE88-E622-4209-B003-D5FF412B30B6}" dt="2022-10-10T11:28:16.092" v="2128" actId="167"/>
          <ac:spMkLst>
            <pc:docMk/>
            <pc:sldMk cId="763149414" sldId="263"/>
            <ac:spMk id="12" creationId="{85C505E8-202C-D1D6-1A1C-E3944802EF63}"/>
          </ac:spMkLst>
        </pc:spChg>
        <pc:spChg chg="mod">
          <ac:chgData name="Quan Nguyen - Y17" userId="fcceac3d-5680-48d6-8dcd-178a9cd0e1b0" providerId="ADAL" clId="{6635BE88-E622-4209-B003-D5FF412B30B6}" dt="2022-10-10T11:28:12.265" v="2127"/>
          <ac:spMkLst>
            <pc:docMk/>
            <pc:sldMk cId="763149414" sldId="263"/>
            <ac:spMk id="14" creationId="{7F1DB1E1-6928-E503-F658-F3841A0648D7}"/>
          </ac:spMkLst>
        </pc:spChg>
        <pc:spChg chg="mod">
          <ac:chgData name="Quan Nguyen - Y17" userId="fcceac3d-5680-48d6-8dcd-178a9cd0e1b0" providerId="ADAL" clId="{6635BE88-E622-4209-B003-D5FF412B30B6}" dt="2022-10-10T11:28:12.265" v="2127"/>
          <ac:spMkLst>
            <pc:docMk/>
            <pc:sldMk cId="763149414" sldId="263"/>
            <ac:spMk id="15" creationId="{880E6A6A-1A6E-2D08-6600-16F214ED265E}"/>
          </ac:spMkLst>
        </pc:spChg>
        <pc:grpChg chg="add mod">
          <ac:chgData name="Quan Nguyen - Y17" userId="fcceac3d-5680-48d6-8dcd-178a9cd0e1b0" providerId="ADAL" clId="{6635BE88-E622-4209-B003-D5FF412B30B6}" dt="2022-10-10T11:27:29.987" v="2109" actId="1076"/>
          <ac:grpSpMkLst>
            <pc:docMk/>
            <pc:sldMk cId="763149414" sldId="263"/>
            <ac:grpSpMk id="8" creationId="{F1BFF0C1-48FB-2FAB-C734-6133A6FD1C76}"/>
          </ac:grpSpMkLst>
        </pc:grpChg>
        <pc:grpChg chg="add mod">
          <ac:chgData name="Quan Nguyen - Y17" userId="fcceac3d-5680-48d6-8dcd-178a9cd0e1b0" providerId="ADAL" clId="{6635BE88-E622-4209-B003-D5FF412B30B6}" dt="2022-10-10T11:28:12.265" v="2127"/>
          <ac:grpSpMkLst>
            <pc:docMk/>
            <pc:sldMk cId="763149414" sldId="263"/>
            <ac:grpSpMk id="13" creationId="{89B3E674-CCE2-EBA0-1CEE-E056D43D4380}"/>
          </ac:grpSpMkLst>
        </pc:grpChg>
        <pc:picChg chg="mod">
          <ac:chgData name="Quan Nguyen - Y17" userId="fcceac3d-5680-48d6-8dcd-178a9cd0e1b0" providerId="ADAL" clId="{6635BE88-E622-4209-B003-D5FF412B30B6}" dt="2022-10-10T11:27:57.058" v="2125" actId="1036"/>
          <ac:picMkLst>
            <pc:docMk/>
            <pc:sldMk cId="763149414" sldId="263"/>
            <ac:picMk id="5" creationId="{621B16A7-6324-CC35-D378-9252E95B8BF4}"/>
          </ac:picMkLst>
        </pc:picChg>
        <pc:picChg chg="mod">
          <ac:chgData name="Quan Nguyen - Y17" userId="fcceac3d-5680-48d6-8dcd-178a9cd0e1b0" providerId="ADAL" clId="{6635BE88-E622-4209-B003-D5FF412B30B6}" dt="2022-10-10T11:27:57.058" v="2125" actId="1036"/>
          <ac:picMkLst>
            <pc:docMk/>
            <pc:sldMk cId="763149414" sldId="263"/>
            <ac:picMk id="7" creationId="{BB656194-E66A-CDFC-EDDA-2D62E1B5351E}"/>
          </ac:picMkLst>
        </pc:picChg>
      </pc:sldChg>
      <pc:sldChg chg="modSp del">
        <pc:chgData name="Quan Nguyen - Y17" userId="fcceac3d-5680-48d6-8dcd-178a9cd0e1b0" providerId="ADAL" clId="{6635BE88-E622-4209-B003-D5FF412B30B6}" dt="2022-10-10T12:18:04.975" v="2909" actId="47"/>
        <pc:sldMkLst>
          <pc:docMk/>
          <pc:sldMk cId="3207565834" sldId="264"/>
        </pc:sldMkLst>
        <pc:spChg chg="mod">
          <ac:chgData name="Quan Nguyen - Y17" userId="fcceac3d-5680-48d6-8dcd-178a9cd0e1b0" providerId="ADAL" clId="{6635BE88-E622-4209-B003-D5FF412B30B6}" dt="2022-10-10T09:18:12.497" v="139"/>
          <ac:spMkLst>
            <pc:docMk/>
            <pc:sldMk cId="3207565834" sldId="264"/>
            <ac:spMk id="2" creationId="{7D3509CC-2D62-AB65-11FA-418741BAB879}"/>
          </ac:spMkLst>
        </pc:spChg>
      </pc:sldChg>
      <pc:sldChg chg="addSp delSp modSp mod">
        <pc:chgData name="Quan Nguyen - Y17" userId="fcceac3d-5680-48d6-8dcd-178a9cd0e1b0" providerId="ADAL" clId="{6635BE88-E622-4209-B003-D5FF412B30B6}" dt="2022-10-10T11:29:38.581" v="2176" actId="20577"/>
        <pc:sldMkLst>
          <pc:docMk/>
          <pc:sldMk cId="1624782388" sldId="266"/>
        </pc:sldMkLst>
        <pc:spChg chg="del mod">
          <ac:chgData name="Quan Nguyen - Y17" userId="fcceac3d-5680-48d6-8dcd-178a9cd0e1b0" providerId="ADAL" clId="{6635BE88-E622-4209-B003-D5FF412B30B6}" dt="2022-10-10T11:29:04.982" v="2134" actId="478"/>
          <ac:spMkLst>
            <pc:docMk/>
            <pc:sldMk cId="1624782388" sldId="266"/>
            <ac:spMk id="2" creationId="{0E47144F-2FC3-285A-826C-30C56416D01F}"/>
          </ac:spMkLst>
        </pc:spChg>
        <pc:spChg chg="del">
          <ac:chgData name="Quan Nguyen - Y17" userId="fcceac3d-5680-48d6-8dcd-178a9cd0e1b0" providerId="ADAL" clId="{6635BE88-E622-4209-B003-D5FF412B30B6}" dt="2022-10-10T11:29:03.634" v="2133" actId="478"/>
          <ac:spMkLst>
            <pc:docMk/>
            <pc:sldMk cId="1624782388" sldId="266"/>
            <ac:spMk id="3" creationId="{A62706C6-E26A-D042-7BA3-FAD48E57BD57}"/>
          </ac:spMkLst>
        </pc:spChg>
        <pc:spChg chg="add mod">
          <ac:chgData name="Quan Nguyen - Y17" userId="fcceac3d-5680-48d6-8dcd-178a9cd0e1b0" providerId="ADAL" clId="{6635BE88-E622-4209-B003-D5FF412B30B6}" dt="2022-10-10T11:29:11.893" v="2137" actId="1076"/>
          <ac:spMkLst>
            <pc:docMk/>
            <pc:sldMk cId="1624782388" sldId="266"/>
            <ac:spMk id="4" creationId="{4A1E2605-B582-8059-846C-110DC4417DC8}"/>
          </ac:spMkLst>
        </pc:spChg>
        <pc:spChg chg="add mod">
          <ac:chgData name="Quan Nguyen - Y17" userId="fcceac3d-5680-48d6-8dcd-178a9cd0e1b0" providerId="ADAL" clId="{6635BE88-E622-4209-B003-D5FF412B30B6}" dt="2022-10-10T11:28:34.150" v="2129"/>
          <ac:spMkLst>
            <pc:docMk/>
            <pc:sldMk cId="1624782388" sldId="266"/>
            <ac:spMk id="6" creationId="{FDE650C3-630A-793E-4986-C4708A19B7F3}"/>
          </ac:spMkLst>
        </pc:spChg>
        <pc:spChg chg="mod">
          <ac:chgData name="Quan Nguyen - Y17" userId="fcceac3d-5680-48d6-8dcd-178a9cd0e1b0" providerId="ADAL" clId="{6635BE88-E622-4209-B003-D5FF412B30B6}" dt="2022-10-10T11:28:34.150" v="2129"/>
          <ac:spMkLst>
            <pc:docMk/>
            <pc:sldMk cId="1624782388" sldId="266"/>
            <ac:spMk id="8" creationId="{1F1E50CC-3ADA-764F-CFDD-010856E837C5}"/>
          </ac:spMkLst>
        </pc:spChg>
        <pc:spChg chg="mod">
          <ac:chgData name="Quan Nguyen - Y17" userId="fcceac3d-5680-48d6-8dcd-178a9cd0e1b0" providerId="ADAL" clId="{6635BE88-E622-4209-B003-D5FF412B30B6}" dt="2022-10-10T11:28:34.150" v="2129"/>
          <ac:spMkLst>
            <pc:docMk/>
            <pc:sldMk cId="1624782388" sldId="266"/>
            <ac:spMk id="9" creationId="{218077F4-0543-0717-A3DE-1CFF45FC17C0}"/>
          </ac:spMkLst>
        </pc:spChg>
        <pc:spChg chg="add del mod">
          <ac:chgData name="Quan Nguyen - Y17" userId="fcceac3d-5680-48d6-8dcd-178a9cd0e1b0" providerId="ADAL" clId="{6635BE88-E622-4209-B003-D5FF412B30B6}" dt="2022-10-10T11:29:07.314" v="2135" actId="478"/>
          <ac:spMkLst>
            <pc:docMk/>
            <pc:sldMk cId="1624782388" sldId="266"/>
            <ac:spMk id="11" creationId="{EE739EE5-F294-FC7B-F5C1-56080E7681F6}"/>
          </ac:spMkLst>
        </pc:spChg>
        <pc:spChg chg="add mod">
          <ac:chgData name="Quan Nguyen - Y17" userId="fcceac3d-5680-48d6-8dcd-178a9cd0e1b0" providerId="ADAL" clId="{6635BE88-E622-4209-B003-D5FF412B30B6}" dt="2022-10-10T11:29:38.581" v="2176" actId="20577"/>
          <ac:spMkLst>
            <pc:docMk/>
            <pc:sldMk cId="1624782388" sldId="266"/>
            <ac:spMk id="12" creationId="{FAEDA56A-CF2C-D44E-94FF-8AF95202D5EF}"/>
          </ac:spMkLst>
        </pc:spChg>
        <pc:spChg chg="mod">
          <ac:chgData name="Quan Nguyen - Y17" userId="fcceac3d-5680-48d6-8dcd-178a9cd0e1b0" providerId="ADAL" clId="{6635BE88-E622-4209-B003-D5FF412B30B6}" dt="2022-10-10T11:29:08.416" v="2136"/>
          <ac:spMkLst>
            <pc:docMk/>
            <pc:sldMk cId="1624782388" sldId="266"/>
            <ac:spMk id="14" creationId="{4D11046A-FF65-16C9-54A9-E3663D502ADD}"/>
          </ac:spMkLst>
        </pc:spChg>
        <pc:spChg chg="mod">
          <ac:chgData name="Quan Nguyen - Y17" userId="fcceac3d-5680-48d6-8dcd-178a9cd0e1b0" providerId="ADAL" clId="{6635BE88-E622-4209-B003-D5FF412B30B6}" dt="2022-10-10T11:29:15.659" v="2138" actId="1076"/>
          <ac:spMkLst>
            <pc:docMk/>
            <pc:sldMk cId="1624782388" sldId="266"/>
            <ac:spMk id="15" creationId="{CFF8C9F5-991E-4E47-6B69-3C9B038755BE}"/>
          </ac:spMkLst>
        </pc:spChg>
        <pc:grpChg chg="add mod">
          <ac:chgData name="Quan Nguyen - Y17" userId="fcceac3d-5680-48d6-8dcd-178a9cd0e1b0" providerId="ADAL" clId="{6635BE88-E622-4209-B003-D5FF412B30B6}" dt="2022-10-10T11:28:34.150" v="2129"/>
          <ac:grpSpMkLst>
            <pc:docMk/>
            <pc:sldMk cId="1624782388" sldId="266"/>
            <ac:grpSpMk id="7" creationId="{F5E557CF-3C15-D7A5-6ED5-2CAF16C91988}"/>
          </ac:grpSpMkLst>
        </pc:grpChg>
        <pc:grpChg chg="add mod">
          <ac:chgData name="Quan Nguyen - Y17" userId="fcceac3d-5680-48d6-8dcd-178a9cd0e1b0" providerId="ADAL" clId="{6635BE88-E622-4209-B003-D5FF412B30B6}" dt="2022-10-10T11:29:08.416" v="2136"/>
          <ac:grpSpMkLst>
            <pc:docMk/>
            <pc:sldMk cId="1624782388" sldId="266"/>
            <ac:grpSpMk id="13" creationId="{A17B2839-FC81-7D2A-8EAB-24C01B7B0D19}"/>
          </ac:grpSpMkLst>
        </pc:grpChg>
      </pc:sldChg>
      <pc:sldChg chg="addSp delSp modSp mod">
        <pc:chgData name="Quan Nguyen - Y17" userId="fcceac3d-5680-48d6-8dcd-178a9cd0e1b0" providerId="ADAL" clId="{6635BE88-E622-4209-B003-D5FF412B30B6}" dt="2022-10-10T11:31:54.915" v="2223" actId="20577"/>
        <pc:sldMkLst>
          <pc:docMk/>
          <pc:sldMk cId="4147621180" sldId="267"/>
        </pc:sldMkLst>
        <pc:spChg chg="del mod">
          <ac:chgData name="Quan Nguyen - Y17" userId="fcceac3d-5680-48d6-8dcd-178a9cd0e1b0" providerId="ADAL" clId="{6635BE88-E622-4209-B003-D5FF412B30B6}" dt="2022-10-10T11:31:17.415" v="2180" actId="478"/>
          <ac:spMkLst>
            <pc:docMk/>
            <pc:sldMk cId="4147621180" sldId="267"/>
            <ac:spMk id="2" creationId="{0E47144F-2FC3-285A-826C-30C56416D01F}"/>
          </ac:spMkLst>
        </pc:spChg>
        <pc:spChg chg="del">
          <ac:chgData name="Quan Nguyen - Y17" userId="fcceac3d-5680-48d6-8dcd-178a9cd0e1b0" providerId="ADAL" clId="{6635BE88-E622-4209-B003-D5FF412B30B6}" dt="2022-10-10T11:31:15.984" v="2179" actId="478"/>
          <ac:spMkLst>
            <pc:docMk/>
            <pc:sldMk cId="4147621180" sldId="267"/>
            <ac:spMk id="3" creationId="{A62706C6-E26A-D042-7BA3-FAD48E57BD57}"/>
          </ac:spMkLst>
        </pc:spChg>
        <pc:spChg chg="add mod">
          <ac:chgData name="Quan Nguyen - Y17" userId="fcceac3d-5680-48d6-8dcd-178a9cd0e1b0" providerId="ADAL" clId="{6635BE88-E622-4209-B003-D5FF412B30B6}" dt="2022-10-10T11:28:37.650" v="2130"/>
          <ac:spMkLst>
            <pc:docMk/>
            <pc:sldMk cId="4147621180" sldId="267"/>
            <ac:spMk id="4" creationId="{EF320249-FA67-60D2-4841-6B0DE714738D}"/>
          </ac:spMkLst>
        </pc:spChg>
        <pc:spChg chg="add mod ord">
          <ac:chgData name="Quan Nguyen - Y17" userId="fcceac3d-5680-48d6-8dcd-178a9cd0e1b0" providerId="ADAL" clId="{6635BE88-E622-4209-B003-D5FF412B30B6}" dt="2022-10-10T11:30:51.968" v="2177" actId="167"/>
          <ac:spMkLst>
            <pc:docMk/>
            <pc:sldMk cId="4147621180" sldId="267"/>
            <ac:spMk id="6" creationId="{12634B66-ADA6-15F5-7A58-4AD9D237085A}"/>
          </ac:spMkLst>
        </pc:spChg>
        <pc:spChg chg="mod">
          <ac:chgData name="Quan Nguyen - Y17" userId="fcceac3d-5680-48d6-8dcd-178a9cd0e1b0" providerId="ADAL" clId="{6635BE88-E622-4209-B003-D5FF412B30B6}" dt="2022-10-10T11:28:37.650" v="2130"/>
          <ac:spMkLst>
            <pc:docMk/>
            <pc:sldMk cId="4147621180" sldId="267"/>
            <ac:spMk id="8" creationId="{236CDBCA-B838-4916-25AE-25D992F627B3}"/>
          </ac:spMkLst>
        </pc:spChg>
        <pc:spChg chg="mod">
          <ac:chgData name="Quan Nguyen - Y17" userId="fcceac3d-5680-48d6-8dcd-178a9cd0e1b0" providerId="ADAL" clId="{6635BE88-E622-4209-B003-D5FF412B30B6}" dt="2022-10-10T11:28:37.650" v="2130"/>
          <ac:spMkLst>
            <pc:docMk/>
            <pc:sldMk cId="4147621180" sldId="267"/>
            <ac:spMk id="9" creationId="{D83C638D-C21B-814E-AA63-A47869728E6E}"/>
          </ac:spMkLst>
        </pc:spChg>
        <pc:spChg chg="add del mod">
          <ac:chgData name="Quan Nguyen - Y17" userId="fcceac3d-5680-48d6-8dcd-178a9cd0e1b0" providerId="ADAL" clId="{6635BE88-E622-4209-B003-D5FF412B30B6}" dt="2022-10-10T11:31:18.681" v="2181" actId="478"/>
          <ac:spMkLst>
            <pc:docMk/>
            <pc:sldMk cId="4147621180" sldId="267"/>
            <ac:spMk id="11" creationId="{D250F454-2593-248B-74B3-4EB5A3F14258}"/>
          </ac:spMkLst>
        </pc:spChg>
        <pc:spChg chg="add mod">
          <ac:chgData name="Quan Nguyen - Y17" userId="fcceac3d-5680-48d6-8dcd-178a9cd0e1b0" providerId="ADAL" clId="{6635BE88-E622-4209-B003-D5FF412B30B6}" dt="2022-10-10T11:31:54.915" v="2223" actId="20577"/>
          <ac:spMkLst>
            <pc:docMk/>
            <pc:sldMk cId="4147621180" sldId="267"/>
            <ac:spMk id="12" creationId="{23B60DDC-5BD8-A729-5EA0-2FFF035381DE}"/>
          </ac:spMkLst>
        </pc:spChg>
        <pc:spChg chg="mod">
          <ac:chgData name="Quan Nguyen - Y17" userId="fcceac3d-5680-48d6-8dcd-178a9cd0e1b0" providerId="ADAL" clId="{6635BE88-E622-4209-B003-D5FF412B30B6}" dt="2022-10-10T11:31:19.949" v="2182"/>
          <ac:spMkLst>
            <pc:docMk/>
            <pc:sldMk cId="4147621180" sldId="267"/>
            <ac:spMk id="14" creationId="{C1CDB648-544D-2440-B4B1-AE6F151E9947}"/>
          </ac:spMkLst>
        </pc:spChg>
        <pc:spChg chg="mod">
          <ac:chgData name="Quan Nguyen - Y17" userId="fcceac3d-5680-48d6-8dcd-178a9cd0e1b0" providerId="ADAL" clId="{6635BE88-E622-4209-B003-D5FF412B30B6}" dt="2022-10-10T11:31:19.949" v="2182"/>
          <ac:spMkLst>
            <pc:docMk/>
            <pc:sldMk cId="4147621180" sldId="267"/>
            <ac:spMk id="15" creationId="{79831675-13B3-C8F4-86E4-611BB7567BFE}"/>
          </ac:spMkLst>
        </pc:spChg>
        <pc:grpChg chg="add mod">
          <ac:chgData name="Quan Nguyen - Y17" userId="fcceac3d-5680-48d6-8dcd-178a9cd0e1b0" providerId="ADAL" clId="{6635BE88-E622-4209-B003-D5FF412B30B6}" dt="2022-10-10T11:28:37.650" v="2130"/>
          <ac:grpSpMkLst>
            <pc:docMk/>
            <pc:sldMk cId="4147621180" sldId="267"/>
            <ac:grpSpMk id="7" creationId="{8E08F040-2D6F-67A2-D4CD-66AC316ED45D}"/>
          </ac:grpSpMkLst>
        </pc:grpChg>
        <pc:grpChg chg="add mod">
          <ac:chgData name="Quan Nguyen - Y17" userId="fcceac3d-5680-48d6-8dcd-178a9cd0e1b0" providerId="ADAL" clId="{6635BE88-E622-4209-B003-D5FF412B30B6}" dt="2022-10-10T11:31:26.947" v="2183" actId="1076"/>
          <ac:grpSpMkLst>
            <pc:docMk/>
            <pc:sldMk cId="4147621180" sldId="267"/>
            <ac:grpSpMk id="13" creationId="{5C71B842-778C-3955-3657-18C79AB9B7C3}"/>
          </ac:grpSpMkLst>
        </pc:grpChg>
        <pc:picChg chg="mod">
          <ac:chgData name="Quan Nguyen - Y17" userId="fcceac3d-5680-48d6-8dcd-178a9cd0e1b0" providerId="ADAL" clId="{6635BE88-E622-4209-B003-D5FF412B30B6}" dt="2022-10-10T11:31:33.323" v="2186" actId="1076"/>
          <ac:picMkLst>
            <pc:docMk/>
            <pc:sldMk cId="4147621180" sldId="267"/>
            <ac:picMk id="5" creationId="{C214ACD0-3F3E-A078-12BD-74DB8ECAD87B}"/>
          </ac:picMkLst>
        </pc:picChg>
      </pc:sldChg>
      <pc:sldChg chg="addSp delSp modSp mod">
        <pc:chgData name="Quan Nguyen - Y17" userId="fcceac3d-5680-48d6-8dcd-178a9cd0e1b0" providerId="ADAL" clId="{6635BE88-E622-4209-B003-D5FF412B30B6}" dt="2022-10-10T11:32:13.345" v="2253" actId="20577"/>
        <pc:sldMkLst>
          <pc:docMk/>
          <pc:sldMk cId="1978084541" sldId="268"/>
        </pc:sldMkLst>
        <pc:spChg chg="del mod">
          <ac:chgData name="Quan Nguyen - Y17" userId="fcceac3d-5680-48d6-8dcd-178a9cd0e1b0" providerId="ADAL" clId="{6635BE88-E622-4209-B003-D5FF412B30B6}" dt="2022-10-10T11:32:03.937" v="2225" actId="478"/>
          <ac:spMkLst>
            <pc:docMk/>
            <pc:sldMk cId="1978084541" sldId="268"/>
            <ac:spMk id="2" creationId="{0E47144F-2FC3-285A-826C-30C56416D01F}"/>
          </ac:spMkLst>
        </pc:spChg>
        <pc:spChg chg="del">
          <ac:chgData name="Quan Nguyen - Y17" userId="fcceac3d-5680-48d6-8dcd-178a9cd0e1b0" providerId="ADAL" clId="{6635BE88-E622-4209-B003-D5FF412B30B6}" dt="2022-10-10T11:32:01.993" v="2224" actId="478"/>
          <ac:spMkLst>
            <pc:docMk/>
            <pc:sldMk cId="1978084541" sldId="268"/>
            <ac:spMk id="3" creationId="{A62706C6-E26A-D042-7BA3-FAD48E57BD57}"/>
          </ac:spMkLst>
        </pc:spChg>
        <pc:spChg chg="add mod">
          <ac:chgData name="Quan Nguyen - Y17" userId="fcceac3d-5680-48d6-8dcd-178a9cd0e1b0" providerId="ADAL" clId="{6635BE88-E622-4209-B003-D5FF412B30B6}" dt="2022-10-10T11:28:41.866" v="2131"/>
          <ac:spMkLst>
            <pc:docMk/>
            <pc:sldMk cId="1978084541" sldId="268"/>
            <ac:spMk id="6" creationId="{9B40552D-F321-3393-EB97-D122F47AA8E4}"/>
          </ac:spMkLst>
        </pc:spChg>
        <pc:spChg chg="add mod ord">
          <ac:chgData name="Quan Nguyen - Y17" userId="fcceac3d-5680-48d6-8dcd-178a9cd0e1b0" providerId="ADAL" clId="{6635BE88-E622-4209-B003-D5FF412B30B6}" dt="2022-10-10T11:28:49.532" v="2132" actId="167"/>
          <ac:spMkLst>
            <pc:docMk/>
            <pc:sldMk cId="1978084541" sldId="268"/>
            <ac:spMk id="7" creationId="{44147BC2-14D3-BBA0-1D7D-BFB218D63433}"/>
          </ac:spMkLst>
        </pc:spChg>
        <pc:spChg chg="mod">
          <ac:chgData name="Quan Nguyen - Y17" userId="fcceac3d-5680-48d6-8dcd-178a9cd0e1b0" providerId="ADAL" clId="{6635BE88-E622-4209-B003-D5FF412B30B6}" dt="2022-10-10T11:28:41.866" v="2131"/>
          <ac:spMkLst>
            <pc:docMk/>
            <pc:sldMk cId="1978084541" sldId="268"/>
            <ac:spMk id="9" creationId="{E597F24C-DE84-9456-E291-F39A7AF82AAB}"/>
          </ac:spMkLst>
        </pc:spChg>
        <pc:spChg chg="mod">
          <ac:chgData name="Quan Nguyen - Y17" userId="fcceac3d-5680-48d6-8dcd-178a9cd0e1b0" providerId="ADAL" clId="{6635BE88-E622-4209-B003-D5FF412B30B6}" dt="2022-10-10T11:28:41.866" v="2131"/>
          <ac:spMkLst>
            <pc:docMk/>
            <pc:sldMk cId="1978084541" sldId="268"/>
            <ac:spMk id="10" creationId="{99A25384-450F-5DB1-0F6E-B95650833FAA}"/>
          </ac:spMkLst>
        </pc:spChg>
        <pc:spChg chg="add del mod">
          <ac:chgData name="Quan Nguyen - Y17" userId="fcceac3d-5680-48d6-8dcd-178a9cd0e1b0" providerId="ADAL" clId="{6635BE88-E622-4209-B003-D5FF412B30B6}" dt="2022-10-10T11:32:05.909" v="2226" actId="478"/>
          <ac:spMkLst>
            <pc:docMk/>
            <pc:sldMk cId="1978084541" sldId="268"/>
            <ac:spMk id="12" creationId="{2AA2612A-E407-1ECB-EBB1-BC8022167B63}"/>
          </ac:spMkLst>
        </pc:spChg>
        <pc:spChg chg="add mod">
          <ac:chgData name="Quan Nguyen - Y17" userId="fcceac3d-5680-48d6-8dcd-178a9cd0e1b0" providerId="ADAL" clId="{6635BE88-E622-4209-B003-D5FF412B30B6}" dt="2022-10-10T11:32:13.345" v="2253" actId="20577"/>
          <ac:spMkLst>
            <pc:docMk/>
            <pc:sldMk cId="1978084541" sldId="268"/>
            <ac:spMk id="13" creationId="{C90C4CE1-76EE-D47A-7769-8A0C36F464CD}"/>
          </ac:spMkLst>
        </pc:spChg>
        <pc:spChg chg="mod">
          <ac:chgData name="Quan Nguyen - Y17" userId="fcceac3d-5680-48d6-8dcd-178a9cd0e1b0" providerId="ADAL" clId="{6635BE88-E622-4209-B003-D5FF412B30B6}" dt="2022-10-10T11:32:06.886" v="2227"/>
          <ac:spMkLst>
            <pc:docMk/>
            <pc:sldMk cId="1978084541" sldId="268"/>
            <ac:spMk id="15" creationId="{74E867C6-68DF-0BE3-4C3D-D64ECFCD4587}"/>
          </ac:spMkLst>
        </pc:spChg>
        <pc:spChg chg="mod">
          <ac:chgData name="Quan Nguyen - Y17" userId="fcceac3d-5680-48d6-8dcd-178a9cd0e1b0" providerId="ADAL" clId="{6635BE88-E622-4209-B003-D5FF412B30B6}" dt="2022-10-10T11:32:06.886" v="2227"/>
          <ac:spMkLst>
            <pc:docMk/>
            <pc:sldMk cId="1978084541" sldId="268"/>
            <ac:spMk id="16" creationId="{A411A5C6-5B30-DF43-DC03-96B6BA2DBED0}"/>
          </ac:spMkLst>
        </pc:spChg>
        <pc:grpChg chg="add mod">
          <ac:chgData name="Quan Nguyen - Y17" userId="fcceac3d-5680-48d6-8dcd-178a9cd0e1b0" providerId="ADAL" clId="{6635BE88-E622-4209-B003-D5FF412B30B6}" dt="2022-10-10T11:28:41.866" v="2131"/>
          <ac:grpSpMkLst>
            <pc:docMk/>
            <pc:sldMk cId="1978084541" sldId="268"/>
            <ac:grpSpMk id="8" creationId="{9060DCBF-8D46-EEE0-A699-24482C153640}"/>
          </ac:grpSpMkLst>
        </pc:grpChg>
        <pc:grpChg chg="add mod">
          <ac:chgData name="Quan Nguyen - Y17" userId="fcceac3d-5680-48d6-8dcd-178a9cd0e1b0" providerId="ADAL" clId="{6635BE88-E622-4209-B003-D5FF412B30B6}" dt="2022-10-10T11:32:06.886" v="2227"/>
          <ac:grpSpMkLst>
            <pc:docMk/>
            <pc:sldMk cId="1978084541" sldId="268"/>
            <ac:grpSpMk id="14" creationId="{15F61C9E-BBE9-15CD-5015-43C38B75B874}"/>
          </ac:grpSpMkLst>
        </pc:grpChg>
      </pc:sldChg>
      <pc:sldChg chg="delSp modSp del delDesignElem">
        <pc:chgData name="Quan Nguyen - Y17" userId="fcceac3d-5680-48d6-8dcd-178a9cd0e1b0" providerId="ADAL" clId="{6635BE88-E622-4209-B003-D5FF412B30B6}" dt="2022-10-10T10:00:52.588" v="621" actId="47"/>
        <pc:sldMkLst>
          <pc:docMk/>
          <pc:sldMk cId="4005618336" sldId="269"/>
        </pc:sldMkLst>
        <pc:spChg chg="mod">
          <ac:chgData name="Quan Nguyen - Y17" userId="fcceac3d-5680-48d6-8dcd-178a9cd0e1b0" providerId="ADAL" clId="{6635BE88-E622-4209-B003-D5FF412B30B6}" dt="2022-10-10T09:18:12.497" v="139"/>
          <ac:spMkLst>
            <pc:docMk/>
            <pc:sldMk cId="4005618336" sldId="269"/>
            <ac:spMk id="6" creationId="{EAE3955E-14CE-375C-B9C2-FF6F4EBCEF5E}"/>
          </ac:spMkLst>
        </pc:spChg>
        <pc:spChg chg="del">
          <ac:chgData name="Quan Nguyen - Y17" userId="fcceac3d-5680-48d6-8dcd-178a9cd0e1b0" providerId="ADAL" clId="{6635BE88-E622-4209-B003-D5FF412B30B6}" dt="2022-10-10T09:17:41.459" v="135"/>
          <ac:spMkLst>
            <pc:docMk/>
            <pc:sldMk cId="4005618336" sldId="269"/>
            <ac:spMk id="14" creationId="{4AC0CD9D-7610-4620-93B4-798CCD9AB581}"/>
          </ac:spMkLst>
        </pc:spChg>
        <pc:spChg chg="del">
          <ac:chgData name="Quan Nguyen - Y17" userId="fcceac3d-5680-48d6-8dcd-178a9cd0e1b0" providerId="ADAL" clId="{6635BE88-E622-4209-B003-D5FF412B30B6}" dt="2022-10-10T09:17:41.459" v="135"/>
          <ac:spMkLst>
            <pc:docMk/>
            <pc:sldMk cId="4005618336" sldId="269"/>
            <ac:spMk id="20" creationId="{DE4D62F9-188E-4530-84C2-24BDEE4BEB82}"/>
          </ac:spMkLst>
        </pc:spChg>
        <pc:picChg chg="del">
          <ac:chgData name="Quan Nguyen - Y17" userId="fcceac3d-5680-48d6-8dcd-178a9cd0e1b0" providerId="ADAL" clId="{6635BE88-E622-4209-B003-D5FF412B30B6}" dt="2022-10-10T09:17:41.459" v="135"/>
          <ac:picMkLst>
            <pc:docMk/>
            <pc:sldMk cId="4005618336" sldId="269"/>
            <ac:picMk id="10" creationId="{41B68C77-138E-4BF7-A276-BD0C78A4219F}"/>
          </ac:picMkLst>
        </pc:picChg>
        <pc:picChg chg="del">
          <ac:chgData name="Quan Nguyen - Y17" userId="fcceac3d-5680-48d6-8dcd-178a9cd0e1b0" providerId="ADAL" clId="{6635BE88-E622-4209-B003-D5FF412B30B6}" dt="2022-10-10T09:17:41.459" v="135"/>
          <ac:picMkLst>
            <pc:docMk/>
            <pc:sldMk cId="4005618336" sldId="269"/>
            <ac:picMk id="12" creationId="{7C268552-D473-46ED-B1B8-422042C4DEF1}"/>
          </ac:picMkLst>
        </pc:picChg>
        <pc:picChg chg="del">
          <ac:chgData name="Quan Nguyen - Y17" userId="fcceac3d-5680-48d6-8dcd-178a9cd0e1b0" providerId="ADAL" clId="{6635BE88-E622-4209-B003-D5FF412B30B6}" dt="2022-10-10T09:17:41.459" v="135"/>
          <ac:picMkLst>
            <pc:docMk/>
            <pc:sldMk cId="4005618336" sldId="269"/>
            <ac:picMk id="16" creationId="{B9238B3E-24AA-439A-B527-6C5DF6D72145}"/>
          </ac:picMkLst>
        </pc:picChg>
        <pc:picChg chg="del">
          <ac:chgData name="Quan Nguyen - Y17" userId="fcceac3d-5680-48d6-8dcd-178a9cd0e1b0" providerId="ADAL" clId="{6635BE88-E622-4209-B003-D5FF412B30B6}" dt="2022-10-10T09:17:41.459" v="135"/>
          <ac:picMkLst>
            <pc:docMk/>
            <pc:sldMk cId="4005618336" sldId="269"/>
            <ac:picMk id="18" creationId="{69F01145-BEA3-4CBF-AA21-10077B948CA8}"/>
          </ac:picMkLst>
        </pc:picChg>
      </pc:sldChg>
      <pc:sldChg chg="modSp del">
        <pc:chgData name="Quan Nguyen - Y17" userId="fcceac3d-5680-48d6-8dcd-178a9cd0e1b0" providerId="ADAL" clId="{6635BE88-E622-4209-B003-D5FF412B30B6}" dt="2022-10-10T12:16:44.682" v="2905" actId="47"/>
        <pc:sldMkLst>
          <pc:docMk/>
          <pc:sldMk cId="3096017483" sldId="292"/>
        </pc:sldMkLst>
        <pc:spChg chg="mod">
          <ac:chgData name="Quan Nguyen - Y17" userId="fcceac3d-5680-48d6-8dcd-178a9cd0e1b0" providerId="ADAL" clId="{6635BE88-E622-4209-B003-D5FF412B30B6}" dt="2022-10-10T09:18:12.497" v="139"/>
          <ac:spMkLst>
            <pc:docMk/>
            <pc:sldMk cId="3096017483" sldId="292"/>
            <ac:spMk id="2" creationId="{E9EA9CB1-1B77-13A6-A603-D8D25ED7448B}"/>
          </ac:spMkLst>
        </pc:spChg>
      </pc:sldChg>
      <pc:sldChg chg="delSp del delDesignElem">
        <pc:chgData name="Quan Nguyen - Y17" userId="fcceac3d-5680-48d6-8dcd-178a9cd0e1b0" providerId="ADAL" clId="{6635BE88-E622-4209-B003-D5FF412B30B6}" dt="2022-10-10T11:40:37.797" v="2370" actId="47"/>
        <pc:sldMkLst>
          <pc:docMk/>
          <pc:sldMk cId="2767426704" sldId="295"/>
        </pc:sldMkLst>
        <pc:spChg chg="del">
          <ac:chgData name="Quan Nguyen - Y17" userId="fcceac3d-5680-48d6-8dcd-178a9cd0e1b0" providerId="ADAL" clId="{6635BE88-E622-4209-B003-D5FF412B30B6}" dt="2022-10-10T09:17:41.459" v="135"/>
          <ac:spMkLst>
            <pc:docMk/>
            <pc:sldMk cId="2767426704" sldId="295"/>
            <ac:spMk id="13" creationId="{4AC0CD9D-7610-4620-93B4-798CCD9AB581}"/>
          </ac:spMkLst>
        </pc:spChg>
        <pc:spChg chg="del">
          <ac:chgData name="Quan Nguyen - Y17" userId="fcceac3d-5680-48d6-8dcd-178a9cd0e1b0" providerId="ADAL" clId="{6635BE88-E622-4209-B003-D5FF412B30B6}" dt="2022-10-10T09:17:41.459" v="135"/>
          <ac:spMkLst>
            <pc:docMk/>
            <pc:sldMk cId="2767426704" sldId="295"/>
            <ac:spMk id="19" creationId="{DE4D62F9-188E-4530-84C2-24BDEE4BEB82}"/>
          </ac:spMkLst>
        </pc:spChg>
        <pc:picChg chg="del">
          <ac:chgData name="Quan Nguyen - Y17" userId="fcceac3d-5680-48d6-8dcd-178a9cd0e1b0" providerId="ADAL" clId="{6635BE88-E622-4209-B003-D5FF412B30B6}" dt="2022-10-10T09:17:41.459" v="135"/>
          <ac:picMkLst>
            <pc:docMk/>
            <pc:sldMk cId="2767426704" sldId="295"/>
            <ac:picMk id="9" creationId="{41B68C77-138E-4BF7-A276-BD0C78A4219F}"/>
          </ac:picMkLst>
        </pc:picChg>
        <pc:picChg chg="del">
          <ac:chgData name="Quan Nguyen - Y17" userId="fcceac3d-5680-48d6-8dcd-178a9cd0e1b0" providerId="ADAL" clId="{6635BE88-E622-4209-B003-D5FF412B30B6}" dt="2022-10-10T09:17:41.459" v="135"/>
          <ac:picMkLst>
            <pc:docMk/>
            <pc:sldMk cId="2767426704" sldId="295"/>
            <ac:picMk id="11" creationId="{7C268552-D473-46ED-B1B8-422042C4DEF1}"/>
          </ac:picMkLst>
        </pc:picChg>
        <pc:picChg chg="del">
          <ac:chgData name="Quan Nguyen - Y17" userId="fcceac3d-5680-48d6-8dcd-178a9cd0e1b0" providerId="ADAL" clId="{6635BE88-E622-4209-B003-D5FF412B30B6}" dt="2022-10-10T09:17:41.459" v="135"/>
          <ac:picMkLst>
            <pc:docMk/>
            <pc:sldMk cId="2767426704" sldId="295"/>
            <ac:picMk id="15" creationId="{B9238B3E-24AA-439A-B527-6C5DF6D72145}"/>
          </ac:picMkLst>
        </pc:picChg>
        <pc:picChg chg="del">
          <ac:chgData name="Quan Nguyen - Y17" userId="fcceac3d-5680-48d6-8dcd-178a9cd0e1b0" providerId="ADAL" clId="{6635BE88-E622-4209-B003-D5FF412B30B6}" dt="2022-10-10T09:17:41.459" v="135"/>
          <ac:picMkLst>
            <pc:docMk/>
            <pc:sldMk cId="2767426704" sldId="295"/>
            <ac:picMk id="17" creationId="{69F01145-BEA3-4CBF-AA21-10077B948CA8}"/>
          </ac:picMkLst>
        </pc:picChg>
      </pc:sldChg>
      <pc:sldChg chg="addSp delSp modSp mod">
        <pc:chgData name="Quan Nguyen - Y17" userId="fcceac3d-5680-48d6-8dcd-178a9cd0e1b0" providerId="ADAL" clId="{6635BE88-E622-4209-B003-D5FF412B30B6}" dt="2022-10-10T10:32:02.028" v="1233" actId="167"/>
        <pc:sldMkLst>
          <pc:docMk/>
          <pc:sldMk cId="357500812" sldId="297"/>
        </pc:sldMkLst>
        <pc:spChg chg="add mod ord">
          <ac:chgData name="Quan Nguyen - Y17" userId="fcceac3d-5680-48d6-8dcd-178a9cd0e1b0" providerId="ADAL" clId="{6635BE88-E622-4209-B003-D5FF412B30B6}" dt="2022-10-10T10:32:02.028" v="1233" actId="167"/>
          <ac:spMkLst>
            <pc:docMk/>
            <pc:sldMk cId="357500812" sldId="297"/>
            <ac:spMk id="2" creationId="{86664258-EEB6-4031-4738-8CE580469BEE}"/>
          </ac:spMkLst>
        </pc:spChg>
        <pc:spChg chg="add mod ord">
          <ac:chgData name="Quan Nguyen - Y17" userId="fcceac3d-5680-48d6-8dcd-178a9cd0e1b0" providerId="ADAL" clId="{6635BE88-E622-4209-B003-D5FF412B30B6}" dt="2022-10-10T10:31:57.497" v="1232" actId="167"/>
          <ac:spMkLst>
            <pc:docMk/>
            <pc:sldMk cId="357500812" sldId="297"/>
            <ac:spMk id="4" creationId="{F8F56372-D285-73C5-D2A2-67BED56C73D6}"/>
          </ac:spMkLst>
        </pc:spChg>
        <pc:spChg chg="add mod">
          <ac:chgData name="Quan Nguyen - Y17" userId="fcceac3d-5680-48d6-8dcd-178a9cd0e1b0" providerId="ADAL" clId="{6635BE88-E622-4209-B003-D5FF412B30B6}" dt="2022-10-10T10:31:45.222" v="1229"/>
          <ac:spMkLst>
            <pc:docMk/>
            <pc:sldMk cId="357500812" sldId="297"/>
            <ac:spMk id="6" creationId="{3842F4DD-375D-5EC7-9FEF-37C98B86CAAE}"/>
          </ac:spMkLst>
        </pc:spChg>
        <pc:spChg chg="del">
          <ac:chgData name="Quan Nguyen - Y17" userId="fcceac3d-5680-48d6-8dcd-178a9cd0e1b0" providerId="ADAL" clId="{6635BE88-E622-4209-B003-D5FF412B30B6}" dt="2022-10-10T10:22:24.043" v="1156" actId="478"/>
          <ac:spMkLst>
            <pc:docMk/>
            <pc:sldMk cId="357500812" sldId="297"/>
            <ac:spMk id="7" creationId="{974C601A-E1EA-4999-9CA2-8DE386935F9A}"/>
          </ac:spMkLst>
        </pc:spChg>
        <pc:picChg chg="mod">
          <ac:chgData name="Quan Nguyen - Y17" userId="fcceac3d-5680-48d6-8dcd-178a9cd0e1b0" providerId="ADAL" clId="{6635BE88-E622-4209-B003-D5FF412B30B6}" dt="2022-10-10T10:22:26.568" v="1157" actId="1076"/>
          <ac:picMkLst>
            <pc:docMk/>
            <pc:sldMk cId="357500812" sldId="297"/>
            <ac:picMk id="1026" creationId="{5B22178B-5CAC-5346-FA8A-9375AC138DD0}"/>
          </ac:picMkLst>
        </pc:picChg>
      </pc:sldChg>
      <pc:sldChg chg="modSp del mod">
        <pc:chgData name="Quan Nguyen - Y17" userId="fcceac3d-5680-48d6-8dcd-178a9cd0e1b0" providerId="ADAL" clId="{6635BE88-E622-4209-B003-D5FF412B30B6}" dt="2022-10-10T10:32:12.447" v="1234" actId="47"/>
        <pc:sldMkLst>
          <pc:docMk/>
          <pc:sldMk cId="2883658179" sldId="298"/>
        </pc:sldMkLst>
        <pc:spChg chg="mod">
          <ac:chgData name="Quan Nguyen - Y17" userId="fcceac3d-5680-48d6-8dcd-178a9cd0e1b0" providerId="ADAL" clId="{6635BE88-E622-4209-B003-D5FF412B30B6}" dt="2022-10-10T09:18:12.497" v="139"/>
          <ac:spMkLst>
            <pc:docMk/>
            <pc:sldMk cId="2883658179" sldId="298"/>
            <ac:spMk id="2" creationId="{AD4D2E20-05A5-9DA7-43E8-87A49965675A}"/>
          </ac:spMkLst>
        </pc:spChg>
        <pc:spChg chg="mod">
          <ac:chgData name="Quan Nguyen - Y17" userId="fcceac3d-5680-48d6-8dcd-178a9cd0e1b0" providerId="ADAL" clId="{6635BE88-E622-4209-B003-D5FF412B30B6}" dt="2022-10-10T10:29:37.939" v="1218" actId="1076"/>
          <ac:spMkLst>
            <pc:docMk/>
            <pc:sldMk cId="2883658179" sldId="298"/>
            <ac:spMk id="4" creationId="{A593D7D9-C231-6760-A674-2EE069650933}"/>
          </ac:spMkLst>
        </pc:spChg>
      </pc:sldChg>
      <pc:sldChg chg="modSp del">
        <pc:chgData name="Quan Nguyen - Y17" userId="fcceac3d-5680-48d6-8dcd-178a9cd0e1b0" providerId="ADAL" clId="{6635BE88-E622-4209-B003-D5FF412B30B6}" dt="2022-10-10T10:34:16.631" v="1248" actId="47"/>
        <pc:sldMkLst>
          <pc:docMk/>
          <pc:sldMk cId="30100189" sldId="299"/>
        </pc:sldMkLst>
        <pc:spChg chg="mod">
          <ac:chgData name="Quan Nguyen - Y17" userId="fcceac3d-5680-48d6-8dcd-178a9cd0e1b0" providerId="ADAL" clId="{6635BE88-E622-4209-B003-D5FF412B30B6}" dt="2022-10-10T09:18:12.497" v="139"/>
          <ac:spMkLst>
            <pc:docMk/>
            <pc:sldMk cId="30100189" sldId="299"/>
            <ac:spMk id="2" creationId="{AD4D2E20-05A5-9DA7-43E8-87A49965675A}"/>
          </ac:spMkLst>
        </pc:spChg>
      </pc:sldChg>
      <pc:sldChg chg="addSp delSp modSp mod">
        <pc:chgData name="Quan Nguyen - Y17" userId="fcceac3d-5680-48d6-8dcd-178a9cd0e1b0" providerId="ADAL" clId="{6635BE88-E622-4209-B003-D5FF412B30B6}" dt="2022-10-10T10:43:34.331" v="1337" actId="1076"/>
        <pc:sldMkLst>
          <pc:docMk/>
          <pc:sldMk cId="4047065562" sldId="303"/>
        </pc:sldMkLst>
        <pc:spChg chg="del mod">
          <ac:chgData name="Quan Nguyen - Y17" userId="fcceac3d-5680-48d6-8dcd-178a9cd0e1b0" providerId="ADAL" clId="{6635BE88-E622-4209-B003-D5FF412B30B6}" dt="2022-10-10T10:34:38.061" v="1254" actId="478"/>
          <ac:spMkLst>
            <pc:docMk/>
            <pc:sldMk cId="4047065562" sldId="303"/>
            <ac:spMk id="2" creationId="{D69B8E61-5A29-B043-D0E5-7942B105F115}"/>
          </ac:spMkLst>
        </pc:spChg>
        <pc:spChg chg="add del mod">
          <ac:chgData name="Quan Nguyen - Y17" userId="fcceac3d-5680-48d6-8dcd-178a9cd0e1b0" providerId="ADAL" clId="{6635BE88-E622-4209-B003-D5FF412B30B6}" dt="2022-10-10T10:34:40.177" v="1255" actId="478"/>
          <ac:spMkLst>
            <pc:docMk/>
            <pc:sldMk cId="4047065562" sldId="303"/>
            <ac:spMk id="4" creationId="{CD3FD62B-4825-3B59-0466-5B266BFE76AF}"/>
          </ac:spMkLst>
        </pc:spChg>
        <pc:spChg chg="add mod ord">
          <ac:chgData name="Quan Nguyen - Y17" userId="fcceac3d-5680-48d6-8dcd-178a9cd0e1b0" providerId="ADAL" clId="{6635BE88-E622-4209-B003-D5FF412B30B6}" dt="2022-10-10T10:34:44.033" v="1257" actId="167"/>
          <ac:spMkLst>
            <pc:docMk/>
            <pc:sldMk cId="4047065562" sldId="303"/>
            <ac:spMk id="6" creationId="{43C3A443-EEDA-0CFB-E9E2-617178B0EB3B}"/>
          </ac:spMkLst>
        </pc:spChg>
        <pc:spChg chg="add mod ord">
          <ac:chgData name="Quan Nguyen - Y17" userId="fcceac3d-5680-48d6-8dcd-178a9cd0e1b0" providerId="ADAL" clId="{6635BE88-E622-4209-B003-D5FF412B30B6}" dt="2022-10-10T10:34:44.033" v="1257" actId="167"/>
          <ac:spMkLst>
            <pc:docMk/>
            <pc:sldMk cId="4047065562" sldId="303"/>
            <ac:spMk id="9" creationId="{675373D6-DC12-F605-3061-F0149EA12098}"/>
          </ac:spMkLst>
        </pc:spChg>
        <pc:spChg chg="add mod ord">
          <ac:chgData name="Quan Nguyen - Y17" userId="fcceac3d-5680-48d6-8dcd-178a9cd0e1b0" providerId="ADAL" clId="{6635BE88-E622-4209-B003-D5FF412B30B6}" dt="2022-10-10T10:34:44.033" v="1257" actId="167"/>
          <ac:spMkLst>
            <pc:docMk/>
            <pc:sldMk cId="4047065562" sldId="303"/>
            <ac:spMk id="10" creationId="{3A2FA7D8-69C6-B04D-664B-427A7ADECB82}"/>
          </ac:spMkLst>
        </pc:spChg>
        <pc:grpChg chg="add mod">
          <ac:chgData name="Quan Nguyen - Y17" userId="fcceac3d-5680-48d6-8dcd-178a9cd0e1b0" providerId="ADAL" clId="{6635BE88-E622-4209-B003-D5FF412B30B6}" dt="2022-10-10T10:43:34.331" v="1337" actId="1076"/>
          <ac:grpSpMkLst>
            <pc:docMk/>
            <pc:sldMk cId="4047065562" sldId="303"/>
            <ac:grpSpMk id="11" creationId="{22753A79-8906-C103-A6B1-BF6045956F49}"/>
          </ac:grpSpMkLst>
        </pc:grpChg>
        <pc:picChg chg="mod">
          <ac:chgData name="Quan Nguyen - Y17" userId="fcceac3d-5680-48d6-8dcd-178a9cd0e1b0" providerId="ADAL" clId="{6635BE88-E622-4209-B003-D5FF412B30B6}" dt="2022-10-10T10:43:31.133" v="1336" actId="164"/>
          <ac:picMkLst>
            <pc:docMk/>
            <pc:sldMk cId="4047065562" sldId="303"/>
            <ac:picMk id="5" creationId="{E600EDF4-96D2-3299-B8D6-DDA8655CC05B}"/>
          </ac:picMkLst>
        </pc:picChg>
        <pc:picChg chg="mod">
          <ac:chgData name="Quan Nguyen - Y17" userId="fcceac3d-5680-48d6-8dcd-178a9cd0e1b0" providerId="ADAL" clId="{6635BE88-E622-4209-B003-D5FF412B30B6}" dt="2022-10-10T10:43:31.133" v="1336" actId="164"/>
          <ac:picMkLst>
            <pc:docMk/>
            <pc:sldMk cId="4047065562" sldId="303"/>
            <ac:picMk id="7" creationId="{A2EB975E-8FCF-11A8-0BFA-3CC172FA737D}"/>
          </ac:picMkLst>
        </pc:picChg>
      </pc:sldChg>
      <pc:sldChg chg="addSp delSp modSp mod">
        <pc:chgData name="Quan Nguyen - Y17" userId="fcceac3d-5680-48d6-8dcd-178a9cd0e1b0" providerId="ADAL" clId="{6635BE88-E622-4209-B003-D5FF412B30B6}" dt="2022-10-10T10:31:53.410" v="1231" actId="167"/>
        <pc:sldMkLst>
          <pc:docMk/>
          <pc:sldMk cId="1289879749" sldId="305"/>
        </pc:sldMkLst>
        <pc:spChg chg="del mod">
          <ac:chgData name="Quan Nguyen - Y17" userId="fcceac3d-5680-48d6-8dcd-178a9cd0e1b0" providerId="ADAL" clId="{6635BE88-E622-4209-B003-D5FF412B30B6}" dt="2022-10-10T10:22:38.962" v="1158" actId="478"/>
          <ac:spMkLst>
            <pc:docMk/>
            <pc:sldMk cId="1289879749" sldId="305"/>
            <ac:spMk id="2" creationId="{92B3E93A-FFAD-3D1D-17BE-488F8F3ECF71}"/>
          </ac:spMkLst>
        </pc:spChg>
        <pc:spChg chg="add del mod">
          <ac:chgData name="Quan Nguyen - Y17" userId="fcceac3d-5680-48d6-8dcd-178a9cd0e1b0" providerId="ADAL" clId="{6635BE88-E622-4209-B003-D5FF412B30B6}" dt="2022-10-10T10:22:41.538" v="1159" actId="478"/>
          <ac:spMkLst>
            <pc:docMk/>
            <pc:sldMk cId="1289879749" sldId="305"/>
            <ac:spMk id="4" creationId="{0B1924FA-055D-94E7-F23B-A84C5FB9ED34}"/>
          </ac:spMkLst>
        </pc:spChg>
        <pc:spChg chg="add mod">
          <ac:chgData name="Quan Nguyen - Y17" userId="fcceac3d-5680-48d6-8dcd-178a9cd0e1b0" providerId="ADAL" clId="{6635BE88-E622-4209-B003-D5FF412B30B6}" dt="2022-10-10T10:31:50.286" v="1230"/>
          <ac:spMkLst>
            <pc:docMk/>
            <pc:sldMk cId="1289879749" sldId="305"/>
            <ac:spMk id="5" creationId="{AFC0A2CD-293B-F89D-BD6C-C284CCB925E2}"/>
          </ac:spMkLst>
        </pc:spChg>
        <pc:spChg chg="mod">
          <ac:chgData name="Quan Nguyen - Y17" userId="fcceac3d-5680-48d6-8dcd-178a9cd0e1b0" providerId="ADAL" clId="{6635BE88-E622-4209-B003-D5FF412B30B6}" dt="2022-10-10T10:23:00.657" v="1161" actId="1076"/>
          <ac:spMkLst>
            <pc:docMk/>
            <pc:sldMk cId="1289879749" sldId="305"/>
            <ac:spMk id="7" creationId="{7C3FEAE7-064E-BCD4-2B19-DA5A3E62C027}"/>
          </ac:spMkLst>
        </pc:spChg>
        <pc:spChg chg="add mod ord">
          <ac:chgData name="Quan Nguyen - Y17" userId="fcceac3d-5680-48d6-8dcd-178a9cd0e1b0" providerId="ADAL" clId="{6635BE88-E622-4209-B003-D5FF412B30B6}" dt="2022-10-10T10:31:53.410" v="1231" actId="167"/>
          <ac:spMkLst>
            <pc:docMk/>
            <pc:sldMk cId="1289879749" sldId="305"/>
            <ac:spMk id="8" creationId="{DDBD0C5E-E55F-69CC-BD77-E657E96EEDB9}"/>
          </ac:spMkLst>
        </pc:spChg>
        <pc:spChg chg="add mod">
          <ac:chgData name="Quan Nguyen - Y17" userId="fcceac3d-5680-48d6-8dcd-178a9cd0e1b0" providerId="ADAL" clId="{6635BE88-E622-4209-B003-D5FF412B30B6}" dt="2022-10-10T10:31:50.286" v="1230"/>
          <ac:spMkLst>
            <pc:docMk/>
            <pc:sldMk cId="1289879749" sldId="305"/>
            <ac:spMk id="9" creationId="{760B8F6A-FB91-380E-ABAF-9FCA33E2CF1C}"/>
          </ac:spMkLst>
        </pc:spChg>
        <pc:picChg chg="mod">
          <ac:chgData name="Quan Nguyen - Y17" userId="fcceac3d-5680-48d6-8dcd-178a9cd0e1b0" providerId="ADAL" clId="{6635BE88-E622-4209-B003-D5FF412B30B6}" dt="2022-10-10T10:23:06.402" v="1163" actId="1076"/>
          <ac:picMkLst>
            <pc:docMk/>
            <pc:sldMk cId="1289879749" sldId="305"/>
            <ac:picMk id="6" creationId="{BDAE58D1-422C-22B2-CE26-2F6A9504DA09}"/>
          </ac:picMkLst>
        </pc:picChg>
      </pc:sldChg>
      <pc:sldChg chg="del">
        <pc:chgData name="Quan Nguyen - Y17" userId="fcceac3d-5680-48d6-8dcd-178a9cd0e1b0" providerId="ADAL" clId="{6635BE88-E622-4209-B003-D5FF412B30B6}" dt="2022-10-10T09:38:14.860" v="383" actId="47"/>
        <pc:sldMkLst>
          <pc:docMk/>
          <pc:sldMk cId="594176135" sldId="307"/>
        </pc:sldMkLst>
      </pc:sldChg>
      <pc:sldChg chg="del">
        <pc:chgData name="Quan Nguyen - Y17" userId="fcceac3d-5680-48d6-8dcd-178a9cd0e1b0" providerId="ADAL" clId="{6635BE88-E622-4209-B003-D5FF412B30B6}" dt="2022-10-10T10:36:39.445" v="1272" actId="47"/>
        <pc:sldMkLst>
          <pc:docMk/>
          <pc:sldMk cId="3252003996" sldId="308"/>
        </pc:sldMkLst>
      </pc:sldChg>
      <pc:sldChg chg="modSp del">
        <pc:chgData name="Quan Nguyen - Y17" userId="fcceac3d-5680-48d6-8dcd-178a9cd0e1b0" providerId="ADAL" clId="{6635BE88-E622-4209-B003-D5FF412B30B6}" dt="2022-10-10T10:14:44.410" v="1117" actId="47"/>
        <pc:sldMkLst>
          <pc:docMk/>
          <pc:sldMk cId="141088346" sldId="309"/>
        </pc:sldMkLst>
        <pc:spChg chg="mod">
          <ac:chgData name="Quan Nguyen - Y17" userId="fcceac3d-5680-48d6-8dcd-178a9cd0e1b0" providerId="ADAL" clId="{6635BE88-E622-4209-B003-D5FF412B30B6}" dt="2022-10-10T09:18:12.497" v="139"/>
          <ac:spMkLst>
            <pc:docMk/>
            <pc:sldMk cId="141088346" sldId="309"/>
            <ac:spMk id="2" creationId="{F79AEF96-A3EC-1354-4CD8-F4622072575E}"/>
          </ac:spMkLst>
        </pc:spChg>
      </pc:sldChg>
      <pc:sldChg chg="del">
        <pc:chgData name="Quan Nguyen - Y17" userId="fcceac3d-5680-48d6-8dcd-178a9cd0e1b0" providerId="ADAL" clId="{6635BE88-E622-4209-B003-D5FF412B30B6}" dt="2022-10-10T10:36:48.489" v="1273" actId="47"/>
        <pc:sldMkLst>
          <pc:docMk/>
          <pc:sldMk cId="324615870" sldId="310"/>
        </pc:sldMkLst>
      </pc:sldChg>
      <pc:sldChg chg="addSp delSp modSp mod">
        <pc:chgData name="Quan Nguyen - Y17" userId="fcceac3d-5680-48d6-8dcd-178a9cd0e1b0" providerId="ADAL" clId="{6635BE88-E622-4209-B003-D5FF412B30B6}" dt="2022-10-10T11:02:19.740" v="1519" actId="20577"/>
        <pc:sldMkLst>
          <pc:docMk/>
          <pc:sldMk cId="3898218446" sldId="311"/>
        </pc:sldMkLst>
        <pc:spChg chg="mod">
          <ac:chgData name="Quan Nguyen - Y17" userId="fcceac3d-5680-48d6-8dcd-178a9cd0e1b0" providerId="ADAL" clId="{6635BE88-E622-4209-B003-D5FF412B30B6}" dt="2022-10-10T11:02:19.740" v="1519" actId="20577"/>
          <ac:spMkLst>
            <pc:docMk/>
            <pc:sldMk cId="3898218446" sldId="311"/>
            <ac:spMk id="2" creationId="{C10C4D63-606F-0638-1DED-5A02C169F4BF}"/>
          </ac:spMkLst>
        </pc:spChg>
        <pc:spChg chg="mod ord">
          <ac:chgData name="Quan Nguyen - Y17" userId="fcceac3d-5680-48d6-8dcd-178a9cd0e1b0" providerId="ADAL" clId="{6635BE88-E622-4209-B003-D5FF412B30B6}" dt="2022-10-10T10:56:01.601" v="1480" actId="207"/>
          <ac:spMkLst>
            <pc:docMk/>
            <pc:sldMk cId="3898218446" sldId="311"/>
            <ac:spMk id="3" creationId="{01718668-B734-4583-3136-D3A86F75358C}"/>
          </ac:spMkLst>
        </pc:spChg>
        <pc:spChg chg="add del mod">
          <ac:chgData name="Quan Nguyen - Y17" userId="fcceac3d-5680-48d6-8dcd-178a9cd0e1b0" providerId="ADAL" clId="{6635BE88-E622-4209-B003-D5FF412B30B6}" dt="2022-10-10T10:59:58.155" v="1484" actId="1076"/>
          <ac:spMkLst>
            <pc:docMk/>
            <pc:sldMk cId="3898218446" sldId="311"/>
            <ac:spMk id="5" creationId="{65EEF70B-A428-117F-8E70-2BD97CD5E3CE}"/>
          </ac:spMkLst>
        </pc:spChg>
        <pc:spChg chg="add del mod ord">
          <ac:chgData name="Quan Nguyen - Y17" userId="fcceac3d-5680-48d6-8dcd-178a9cd0e1b0" providerId="ADAL" clId="{6635BE88-E622-4209-B003-D5FF412B30B6}" dt="2022-10-10T10:35:40.403" v="1264" actId="478"/>
          <ac:spMkLst>
            <pc:docMk/>
            <pc:sldMk cId="3898218446" sldId="311"/>
            <ac:spMk id="7" creationId="{81FB5745-020B-3F89-3B31-F9579E274F2F}"/>
          </ac:spMkLst>
        </pc:spChg>
        <pc:spChg chg="add del mod ord">
          <ac:chgData name="Quan Nguyen - Y17" userId="fcceac3d-5680-48d6-8dcd-178a9cd0e1b0" providerId="ADAL" clId="{6635BE88-E622-4209-B003-D5FF412B30B6}" dt="2022-10-10T10:35:30.262" v="1261" actId="478"/>
          <ac:spMkLst>
            <pc:docMk/>
            <pc:sldMk cId="3898218446" sldId="311"/>
            <ac:spMk id="8" creationId="{097C085D-7C7E-4D1E-1847-85E76F5FF340}"/>
          </ac:spMkLst>
        </pc:spChg>
        <pc:spChg chg="add del mod ord">
          <ac:chgData name="Quan Nguyen - Y17" userId="fcceac3d-5680-48d6-8dcd-178a9cd0e1b0" providerId="ADAL" clId="{6635BE88-E622-4209-B003-D5FF412B30B6}" dt="2022-10-10T10:35:41.420" v="1265" actId="478"/>
          <ac:spMkLst>
            <pc:docMk/>
            <pc:sldMk cId="3898218446" sldId="311"/>
            <ac:spMk id="9" creationId="{67CAF50F-22D2-8647-772B-26B65E2CCAC4}"/>
          </ac:spMkLst>
        </pc:spChg>
        <pc:spChg chg="add mod ord">
          <ac:chgData name="Quan Nguyen - Y17" userId="fcceac3d-5680-48d6-8dcd-178a9cd0e1b0" providerId="ADAL" clId="{6635BE88-E622-4209-B003-D5FF412B30B6}" dt="2022-10-10T10:36:03.434" v="1270" actId="14100"/>
          <ac:spMkLst>
            <pc:docMk/>
            <pc:sldMk cId="3898218446" sldId="311"/>
            <ac:spMk id="10" creationId="{1A6B066F-D778-86DA-73D0-AFBFC1FF5249}"/>
          </ac:spMkLst>
        </pc:spChg>
        <pc:spChg chg="mod">
          <ac:chgData name="Quan Nguyen - Y17" userId="fcceac3d-5680-48d6-8dcd-178a9cd0e1b0" providerId="ADAL" clId="{6635BE88-E622-4209-B003-D5FF412B30B6}" dt="2022-10-10T10:35:42.857" v="1266"/>
          <ac:spMkLst>
            <pc:docMk/>
            <pc:sldMk cId="3898218446" sldId="311"/>
            <ac:spMk id="12" creationId="{E0B21156-4418-1389-E015-FBD724A21936}"/>
          </ac:spMkLst>
        </pc:spChg>
        <pc:spChg chg="mod">
          <ac:chgData name="Quan Nguyen - Y17" userId="fcceac3d-5680-48d6-8dcd-178a9cd0e1b0" providerId="ADAL" clId="{6635BE88-E622-4209-B003-D5FF412B30B6}" dt="2022-10-10T10:35:42.857" v="1266"/>
          <ac:spMkLst>
            <pc:docMk/>
            <pc:sldMk cId="3898218446" sldId="311"/>
            <ac:spMk id="13" creationId="{EF9B4634-329E-40D1-5F10-A136022896FA}"/>
          </ac:spMkLst>
        </pc:spChg>
        <pc:spChg chg="add mod ord">
          <ac:chgData name="Quan Nguyen - Y17" userId="fcceac3d-5680-48d6-8dcd-178a9cd0e1b0" providerId="ADAL" clId="{6635BE88-E622-4209-B003-D5FF412B30B6}" dt="2022-10-10T10:35:49.592" v="1269" actId="167"/>
          <ac:spMkLst>
            <pc:docMk/>
            <pc:sldMk cId="3898218446" sldId="311"/>
            <ac:spMk id="14" creationId="{5F4FEDBC-4514-A78D-2345-96D7E4E8C587}"/>
          </ac:spMkLst>
        </pc:spChg>
        <pc:grpChg chg="add mod ord">
          <ac:chgData name="Quan Nguyen - Y17" userId="fcceac3d-5680-48d6-8dcd-178a9cd0e1b0" providerId="ADAL" clId="{6635BE88-E622-4209-B003-D5FF412B30B6}" dt="2022-10-10T10:45:06.755" v="1349" actId="1076"/>
          <ac:grpSpMkLst>
            <pc:docMk/>
            <pc:sldMk cId="3898218446" sldId="311"/>
            <ac:grpSpMk id="11" creationId="{31053A14-0F31-B1CD-A5A0-42A27645A2A8}"/>
          </ac:grpSpMkLst>
        </pc:grpChg>
        <pc:picChg chg="mod">
          <ac:chgData name="Quan Nguyen - Y17" userId="fcceac3d-5680-48d6-8dcd-178a9cd0e1b0" providerId="ADAL" clId="{6635BE88-E622-4209-B003-D5FF412B30B6}" dt="2022-10-10T10:56:09.130" v="1482" actId="1076"/>
          <ac:picMkLst>
            <pc:docMk/>
            <pc:sldMk cId="3898218446" sldId="311"/>
            <ac:picMk id="6" creationId="{815268D8-1219-4904-81D1-2AA9C2B46D78}"/>
          </ac:picMkLst>
        </pc:picChg>
      </pc:sldChg>
      <pc:sldChg chg="modSp del">
        <pc:chgData name="Quan Nguyen - Y17" userId="fcceac3d-5680-48d6-8dcd-178a9cd0e1b0" providerId="ADAL" clId="{6635BE88-E622-4209-B003-D5FF412B30B6}" dt="2022-10-10T11:21:01.115" v="2008" actId="47"/>
        <pc:sldMkLst>
          <pc:docMk/>
          <pc:sldMk cId="1528803058" sldId="312"/>
        </pc:sldMkLst>
        <pc:spChg chg="mod">
          <ac:chgData name="Quan Nguyen - Y17" userId="fcceac3d-5680-48d6-8dcd-178a9cd0e1b0" providerId="ADAL" clId="{6635BE88-E622-4209-B003-D5FF412B30B6}" dt="2022-10-10T09:18:12.497" v="139"/>
          <ac:spMkLst>
            <pc:docMk/>
            <pc:sldMk cId="1528803058" sldId="312"/>
            <ac:spMk id="2" creationId="{041916B9-2B8E-E02A-706C-7ABD88A98429}"/>
          </ac:spMkLst>
        </pc:spChg>
      </pc:sldChg>
      <pc:sldChg chg="modSp del">
        <pc:chgData name="Quan Nguyen - Y17" userId="fcceac3d-5680-48d6-8dcd-178a9cd0e1b0" providerId="ADAL" clId="{6635BE88-E622-4209-B003-D5FF412B30B6}" dt="2022-10-10T10:54:43.271" v="1471" actId="47"/>
        <pc:sldMkLst>
          <pc:docMk/>
          <pc:sldMk cId="2396983479" sldId="313"/>
        </pc:sldMkLst>
        <pc:spChg chg="mod">
          <ac:chgData name="Quan Nguyen - Y17" userId="fcceac3d-5680-48d6-8dcd-178a9cd0e1b0" providerId="ADAL" clId="{6635BE88-E622-4209-B003-D5FF412B30B6}" dt="2022-10-10T09:18:12.497" v="139"/>
          <ac:spMkLst>
            <pc:docMk/>
            <pc:sldMk cId="2396983479" sldId="313"/>
            <ac:spMk id="2" creationId="{C10C4D63-606F-0638-1DED-5A02C169F4BF}"/>
          </ac:spMkLst>
        </pc:spChg>
      </pc:sldChg>
      <pc:sldChg chg="addSp modSp del">
        <pc:chgData name="Quan Nguyen - Y17" userId="fcceac3d-5680-48d6-8dcd-178a9cd0e1b0" providerId="ADAL" clId="{6635BE88-E622-4209-B003-D5FF412B30B6}" dt="2022-10-10T11:54:45.045" v="2490" actId="47"/>
        <pc:sldMkLst>
          <pc:docMk/>
          <pc:sldMk cId="1337743795" sldId="314"/>
        </pc:sldMkLst>
        <pc:spChg chg="mod">
          <ac:chgData name="Quan Nguyen - Y17" userId="fcceac3d-5680-48d6-8dcd-178a9cd0e1b0" providerId="ADAL" clId="{6635BE88-E622-4209-B003-D5FF412B30B6}" dt="2022-10-10T09:18:12.497" v="139"/>
          <ac:spMkLst>
            <pc:docMk/>
            <pc:sldMk cId="1337743795" sldId="314"/>
            <ac:spMk id="2" creationId="{8C14CE59-53A2-B18D-4DD7-5D948054FC40}"/>
          </ac:spMkLst>
        </pc:spChg>
        <pc:spChg chg="add mod">
          <ac:chgData name="Quan Nguyen - Y17" userId="fcceac3d-5680-48d6-8dcd-178a9cd0e1b0" providerId="ADAL" clId="{6635BE88-E622-4209-B003-D5FF412B30B6}" dt="2022-10-10T11:54:28.194" v="2486" actId="571"/>
          <ac:spMkLst>
            <pc:docMk/>
            <pc:sldMk cId="1337743795" sldId="314"/>
            <ac:spMk id="4" creationId="{CC8628BD-2508-FBA3-DEEA-D6CF4E1DD287}"/>
          </ac:spMkLst>
        </pc:spChg>
        <pc:spChg chg="add mod">
          <ac:chgData name="Quan Nguyen - Y17" userId="fcceac3d-5680-48d6-8dcd-178a9cd0e1b0" providerId="ADAL" clId="{6635BE88-E622-4209-B003-D5FF412B30B6}" dt="2022-10-10T11:54:28.194" v="2486" actId="571"/>
          <ac:spMkLst>
            <pc:docMk/>
            <pc:sldMk cId="1337743795" sldId="314"/>
            <ac:spMk id="5" creationId="{2EC93492-F468-2F5F-8B62-1F6B2374EF77}"/>
          </ac:spMkLst>
        </pc:spChg>
      </pc:sldChg>
      <pc:sldChg chg="addSp delSp modSp del">
        <pc:chgData name="Quan Nguyen - Y17" userId="fcceac3d-5680-48d6-8dcd-178a9cd0e1b0" providerId="ADAL" clId="{6635BE88-E622-4209-B003-D5FF412B30B6}" dt="2022-10-10T10:39:22.369" v="1280" actId="47"/>
        <pc:sldMkLst>
          <pc:docMk/>
          <pc:sldMk cId="1839888397" sldId="317"/>
        </pc:sldMkLst>
        <pc:spChg chg="mod">
          <ac:chgData name="Quan Nguyen - Y17" userId="fcceac3d-5680-48d6-8dcd-178a9cd0e1b0" providerId="ADAL" clId="{6635BE88-E622-4209-B003-D5FF412B30B6}" dt="2022-10-10T09:18:12.497" v="139"/>
          <ac:spMkLst>
            <pc:docMk/>
            <pc:sldMk cId="1839888397" sldId="317"/>
            <ac:spMk id="2" creationId="{AD4D2E20-05A5-9DA7-43E8-87A49965675A}"/>
          </ac:spMkLst>
        </pc:spChg>
        <pc:spChg chg="add del mod">
          <ac:chgData name="Quan Nguyen - Y17" userId="fcceac3d-5680-48d6-8dcd-178a9cd0e1b0" providerId="ADAL" clId="{6635BE88-E622-4209-B003-D5FF412B30B6}" dt="2022-10-10T10:32:40.826" v="1238"/>
          <ac:spMkLst>
            <pc:docMk/>
            <pc:sldMk cId="1839888397" sldId="317"/>
            <ac:spMk id="3" creationId="{3E63DAB1-7083-A7B9-F6BB-89CD54BB05AA}"/>
          </ac:spMkLst>
        </pc:spChg>
        <pc:spChg chg="add del mod">
          <ac:chgData name="Quan Nguyen - Y17" userId="fcceac3d-5680-48d6-8dcd-178a9cd0e1b0" providerId="ADAL" clId="{6635BE88-E622-4209-B003-D5FF412B30B6}" dt="2022-10-10T10:32:40.826" v="1238"/>
          <ac:spMkLst>
            <pc:docMk/>
            <pc:sldMk cId="1839888397" sldId="317"/>
            <ac:spMk id="5" creationId="{41731D36-3B72-78E0-79AE-57A810B24EFD}"/>
          </ac:spMkLst>
        </pc:spChg>
        <pc:spChg chg="add del mod">
          <ac:chgData name="Quan Nguyen - Y17" userId="fcceac3d-5680-48d6-8dcd-178a9cd0e1b0" providerId="ADAL" clId="{6635BE88-E622-4209-B003-D5FF412B30B6}" dt="2022-10-10T10:32:40.826" v="1238"/>
          <ac:spMkLst>
            <pc:docMk/>
            <pc:sldMk cId="1839888397" sldId="317"/>
            <ac:spMk id="6" creationId="{088DFA91-6CC5-19C5-D81A-4AB710462E7F}"/>
          </ac:spMkLst>
        </pc:spChg>
      </pc:sldChg>
      <pc:sldChg chg="modSp del">
        <pc:chgData name="Quan Nguyen - Y17" userId="fcceac3d-5680-48d6-8dcd-178a9cd0e1b0" providerId="ADAL" clId="{6635BE88-E622-4209-B003-D5FF412B30B6}" dt="2022-10-10T10:48:20.793" v="1373" actId="47"/>
        <pc:sldMkLst>
          <pc:docMk/>
          <pc:sldMk cId="2593497642" sldId="318"/>
        </pc:sldMkLst>
        <pc:spChg chg="mod">
          <ac:chgData name="Quan Nguyen - Y17" userId="fcceac3d-5680-48d6-8dcd-178a9cd0e1b0" providerId="ADAL" clId="{6635BE88-E622-4209-B003-D5FF412B30B6}" dt="2022-10-10T09:18:12.497" v="139"/>
          <ac:spMkLst>
            <pc:docMk/>
            <pc:sldMk cId="2593497642" sldId="318"/>
            <ac:spMk id="2" creationId="{F79AEF96-A3EC-1354-4CD8-F4622072575E}"/>
          </ac:spMkLst>
        </pc:spChg>
      </pc:sldChg>
      <pc:sldChg chg="addSp modSp del mod">
        <pc:chgData name="Quan Nguyen - Y17" userId="fcceac3d-5680-48d6-8dcd-178a9cd0e1b0" providerId="ADAL" clId="{6635BE88-E622-4209-B003-D5FF412B30B6}" dt="2022-10-10T10:44:31.162" v="1346" actId="47"/>
        <pc:sldMkLst>
          <pc:docMk/>
          <pc:sldMk cId="3925827999" sldId="319"/>
        </pc:sldMkLst>
        <pc:spChg chg="mod">
          <ac:chgData name="Quan Nguyen - Y17" userId="fcceac3d-5680-48d6-8dcd-178a9cd0e1b0" providerId="ADAL" clId="{6635BE88-E622-4209-B003-D5FF412B30B6}" dt="2022-10-10T09:18:12.497" v="139"/>
          <ac:spMkLst>
            <pc:docMk/>
            <pc:sldMk cId="3925827999" sldId="319"/>
            <ac:spMk id="2" creationId="{F79AEF96-A3EC-1354-4CD8-F4622072575E}"/>
          </ac:spMkLst>
        </pc:spChg>
        <pc:spChg chg="mod">
          <ac:chgData name="Quan Nguyen - Y17" userId="fcceac3d-5680-48d6-8dcd-178a9cd0e1b0" providerId="ADAL" clId="{6635BE88-E622-4209-B003-D5FF412B30B6}" dt="2022-10-10T10:40:48.452" v="1313" actId="115"/>
          <ac:spMkLst>
            <pc:docMk/>
            <pc:sldMk cId="3925827999" sldId="319"/>
            <ac:spMk id="5" creationId="{A6E91AC4-E346-37AF-2600-7296AB9FC4AC}"/>
          </ac:spMkLst>
        </pc:spChg>
        <pc:spChg chg="add mod">
          <ac:chgData name="Quan Nguyen - Y17" userId="fcceac3d-5680-48d6-8dcd-178a9cd0e1b0" providerId="ADAL" clId="{6635BE88-E622-4209-B003-D5FF412B30B6}" dt="2022-10-10T10:41:29.610" v="1318" actId="1076"/>
          <ac:spMkLst>
            <pc:docMk/>
            <pc:sldMk cId="3925827999" sldId="319"/>
            <ac:spMk id="6" creationId="{0D7CD027-60DB-0DB0-CD0E-82E9FC8A0C44}"/>
          </ac:spMkLst>
        </pc:spChg>
        <pc:cxnChg chg="add mod">
          <ac:chgData name="Quan Nguyen - Y17" userId="fcceac3d-5680-48d6-8dcd-178a9cd0e1b0" providerId="ADAL" clId="{6635BE88-E622-4209-B003-D5FF412B30B6}" dt="2022-10-10T10:40:55.715" v="1314"/>
          <ac:cxnSpMkLst>
            <pc:docMk/>
            <pc:sldMk cId="3925827999" sldId="319"/>
            <ac:cxnSpMk id="3" creationId="{BCBCB661-176E-5BDB-9F0E-312B5F011D22}"/>
          </ac:cxnSpMkLst>
        </pc:cxnChg>
      </pc:sldChg>
      <pc:sldChg chg="modSp del">
        <pc:chgData name="Quan Nguyen - Y17" userId="fcceac3d-5680-48d6-8dcd-178a9cd0e1b0" providerId="ADAL" clId="{6635BE88-E622-4209-B003-D5FF412B30B6}" dt="2022-10-10T11:26:28.011" v="2071" actId="47"/>
        <pc:sldMkLst>
          <pc:docMk/>
          <pc:sldMk cId="2890668030" sldId="320"/>
        </pc:sldMkLst>
        <pc:spChg chg="mod">
          <ac:chgData name="Quan Nguyen - Y17" userId="fcceac3d-5680-48d6-8dcd-178a9cd0e1b0" providerId="ADAL" clId="{6635BE88-E622-4209-B003-D5FF412B30B6}" dt="2022-10-10T09:18:12.497" v="139"/>
          <ac:spMkLst>
            <pc:docMk/>
            <pc:sldMk cId="2890668030" sldId="320"/>
            <ac:spMk id="2" creationId="{041916B9-2B8E-E02A-706C-7ABD88A98429}"/>
          </ac:spMkLst>
        </pc:spChg>
      </pc:sldChg>
      <pc:sldChg chg="addSp delSp modSp del mod">
        <pc:chgData name="Quan Nguyen - Y17" userId="fcceac3d-5680-48d6-8dcd-178a9cd0e1b0" providerId="ADAL" clId="{6635BE88-E622-4209-B003-D5FF412B30B6}" dt="2022-10-10T11:06:44.103" v="1758" actId="47"/>
        <pc:sldMkLst>
          <pc:docMk/>
          <pc:sldMk cId="190657404" sldId="322"/>
        </pc:sldMkLst>
        <pc:spChg chg="mod">
          <ac:chgData name="Quan Nguyen - Y17" userId="fcceac3d-5680-48d6-8dcd-178a9cd0e1b0" providerId="ADAL" clId="{6635BE88-E622-4209-B003-D5FF412B30B6}" dt="2022-10-10T09:18:12.497" v="139"/>
          <ac:spMkLst>
            <pc:docMk/>
            <pc:sldMk cId="190657404" sldId="322"/>
            <ac:spMk id="2" creationId="{C10C4D63-606F-0638-1DED-5A02C169F4BF}"/>
          </ac:spMkLst>
        </pc:spChg>
        <pc:spChg chg="mod">
          <ac:chgData name="Quan Nguyen - Y17" userId="fcceac3d-5680-48d6-8dcd-178a9cd0e1b0" providerId="ADAL" clId="{6635BE88-E622-4209-B003-D5FF412B30B6}" dt="2022-10-10T11:04:09.135" v="1538" actId="20577"/>
          <ac:spMkLst>
            <pc:docMk/>
            <pc:sldMk cId="190657404" sldId="322"/>
            <ac:spMk id="3" creationId="{01718668-B734-4583-3136-D3A86F75358C}"/>
          </ac:spMkLst>
        </pc:spChg>
        <pc:spChg chg="add del mod">
          <ac:chgData name="Quan Nguyen - Y17" userId="fcceac3d-5680-48d6-8dcd-178a9cd0e1b0" providerId="ADAL" clId="{6635BE88-E622-4209-B003-D5FF412B30B6}" dt="2022-10-10T11:03:30.699" v="1528"/>
          <ac:spMkLst>
            <pc:docMk/>
            <pc:sldMk cId="190657404" sldId="322"/>
            <ac:spMk id="4" creationId="{D324856D-2ABD-C554-6910-2408CDF76BE3}"/>
          </ac:spMkLst>
        </pc:spChg>
        <pc:spChg chg="add del mod">
          <ac:chgData name="Quan Nguyen - Y17" userId="fcceac3d-5680-48d6-8dcd-178a9cd0e1b0" providerId="ADAL" clId="{6635BE88-E622-4209-B003-D5FF412B30B6}" dt="2022-10-10T11:03:30.699" v="1528"/>
          <ac:spMkLst>
            <pc:docMk/>
            <pc:sldMk cId="190657404" sldId="322"/>
            <ac:spMk id="6" creationId="{3D1A87EA-A431-1714-EBF7-EC4622937C91}"/>
          </ac:spMkLst>
        </pc:spChg>
        <pc:spChg chg="del mod">
          <ac:chgData name="Quan Nguyen - Y17" userId="fcceac3d-5680-48d6-8dcd-178a9cd0e1b0" providerId="ADAL" clId="{6635BE88-E622-4209-B003-D5FF412B30B6}" dt="2022-10-10T11:03:41.005" v="1530" actId="478"/>
          <ac:spMkLst>
            <pc:docMk/>
            <pc:sldMk cId="190657404" sldId="322"/>
            <ac:spMk id="9" creationId="{4326A559-927C-581B-CE44-86A878F23BB6}"/>
          </ac:spMkLst>
        </pc:spChg>
        <pc:spChg chg="mod">
          <ac:chgData name="Quan Nguyen - Y17" userId="fcceac3d-5680-48d6-8dcd-178a9cd0e1b0" providerId="ADAL" clId="{6635BE88-E622-4209-B003-D5FF412B30B6}" dt="2022-10-10T11:03:45.163" v="1531" actId="1076"/>
          <ac:spMkLst>
            <pc:docMk/>
            <pc:sldMk cId="190657404" sldId="322"/>
            <ac:spMk id="10" creationId="{28D53788-73EE-B99A-9372-FB0E0A3A5AFD}"/>
          </ac:spMkLst>
        </pc:spChg>
        <pc:grpChg chg="add mod">
          <ac:chgData name="Quan Nguyen - Y17" userId="fcceac3d-5680-48d6-8dcd-178a9cd0e1b0" providerId="ADAL" clId="{6635BE88-E622-4209-B003-D5FF412B30B6}" dt="2022-10-10T11:03:35.627" v="1529"/>
          <ac:grpSpMkLst>
            <pc:docMk/>
            <pc:sldMk cId="190657404" sldId="322"/>
            <ac:grpSpMk id="7" creationId="{FE901B05-DE69-A15F-02E9-1DB651786478}"/>
          </ac:grpSpMkLst>
        </pc:grpChg>
        <pc:cxnChg chg="mod">
          <ac:chgData name="Quan Nguyen - Y17" userId="fcceac3d-5680-48d6-8dcd-178a9cd0e1b0" providerId="ADAL" clId="{6635BE88-E622-4209-B003-D5FF412B30B6}" dt="2022-10-10T11:04:00.643" v="1533" actId="14100"/>
          <ac:cxnSpMkLst>
            <pc:docMk/>
            <pc:sldMk cId="190657404" sldId="322"/>
            <ac:cxnSpMk id="8" creationId="{1C2A89DA-3FDF-3A8B-1FA7-859216C77237}"/>
          </ac:cxnSpMkLst>
        </pc:cxnChg>
      </pc:sldChg>
      <pc:sldChg chg="modSp del mod">
        <pc:chgData name="Quan Nguyen - Y17" userId="fcceac3d-5680-48d6-8dcd-178a9cd0e1b0" providerId="ADAL" clId="{6635BE88-E622-4209-B003-D5FF412B30B6}" dt="2022-10-10T10:52:14.499" v="1391" actId="47"/>
        <pc:sldMkLst>
          <pc:docMk/>
          <pc:sldMk cId="986672641" sldId="323"/>
        </pc:sldMkLst>
        <pc:spChg chg="mod">
          <ac:chgData name="Quan Nguyen - Y17" userId="fcceac3d-5680-48d6-8dcd-178a9cd0e1b0" providerId="ADAL" clId="{6635BE88-E622-4209-B003-D5FF412B30B6}" dt="2022-10-10T09:18:12.497" v="139"/>
          <ac:spMkLst>
            <pc:docMk/>
            <pc:sldMk cId="986672641" sldId="323"/>
            <ac:spMk id="2" creationId="{F79AEF96-A3EC-1354-4CD8-F4622072575E}"/>
          </ac:spMkLst>
        </pc:spChg>
        <pc:spChg chg="mod">
          <ac:chgData name="Quan Nguyen - Y17" userId="fcceac3d-5680-48d6-8dcd-178a9cd0e1b0" providerId="ADAL" clId="{6635BE88-E622-4209-B003-D5FF412B30B6}" dt="2022-10-10T10:48:34.689" v="1375" actId="1076"/>
          <ac:spMkLst>
            <pc:docMk/>
            <pc:sldMk cId="986672641" sldId="323"/>
            <ac:spMk id="4" creationId="{5575A605-F59D-2560-E778-F8B3878EFE22}"/>
          </ac:spMkLst>
        </pc:spChg>
      </pc:sldChg>
      <pc:sldChg chg="modSp del mod">
        <pc:chgData name="Quan Nguyen - Y17" userId="fcceac3d-5680-48d6-8dcd-178a9cd0e1b0" providerId="ADAL" clId="{6635BE88-E622-4209-B003-D5FF412B30B6}" dt="2022-10-10T11:40:52.126" v="2371" actId="47"/>
        <pc:sldMkLst>
          <pc:docMk/>
          <pc:sldMk cId="3318180650" sldId="324"/>
        </pc:sldMkLst>
        <pc:spChg chg="mod">
          <ac:chgData name="Quan Nguyen - Y17" userId="fcceac3d-5680-48d6-8dcd-178a9cd0e1b0" providerId="ADAL" clId="{6635BE88-E622-4209-B003-D5FF412B30B6}" dt="2022-10-10T09:18:12.497" v="139"/>
          <ac:spMkLst>
            <pc:docMk/>
            <pc:sldMk cId="3318180650" sldId="324"/>
            <ac:spMk id="2" creationId="{CBEAA13D-3DF5-F71A-5CA0-B3957ABC134F}"/>
          </ac:spMkLst>
        </pc:spChg>
        <pc:spChg chg="mod">
          <ac:chgData name="Quan Nguyen - Y17" userId="fcceac3d-5680-48d6-8dcd-178a9cd0e1b0" providerId="ADAL" clId="{6635BE88-E622-4209-B003-D5FF412B30B6}" dt="2022-10-10T11:36:04.788" v="2311" actId="14100"/>
          <ac:spMkLst>
            <pc:docMk/>
            <pc:sldMk cId="3318180650" sldId="324"/>
            <ac:spMk id="4" creationId="{2699B14B-FD3A-218B-9D82-3E5137609FEA}"/>
          </ac:spMkLst>
        </pc:spChg>
        <pc:picChg chg="mod">
          <ac:chgData name="Quan Nguyen - Y17" userId="fcceac3d-5680-48d6-8dcd-178a9cd0e1b0" providerId="ADAL" clId="{6635BE88-E622-4209-B003-D5FF412B30B6}" dt="2022-10-10T11:36:02.051" v="2310" actId="1076"/>
          <ac:picMkLst>
            <pc:docMk/>
            <pc:sldMk cId="3318180650" sldId="324"/>
            <ac:picMk id="3" creationId="{4B67DEE0-7FEA-D920-C915-7C10A472C59D}"/>
          </ac:picMkLst>
        </pc:picChg>
      </pc:sldChg>
      <pc:sldChg chg="addSp delSp modSp mod">
        <pc:chgData name="Quan Nguyen - Y17" userId="fcceac3d-5680-48d6-8dcd-178a9cd0e1b0" providerId="ADAL" clId="{6635BE88-E622-4209-B003-D5FF412B30B6}" dt="2022-10-10T10:32:20.817" v="1236" actId="167"/>
        <pc:sldMkLst>
          <pc:docMk/>
          <pc:sldMk cId="3281700559" sldId="325"/>
        </pc:sldMkLst>
        <pc:spChg chg="del mod">
          <ac:chgData name="Quan Nguyen - Y17" userId="fcceac3d-5680-48d6-8dcd-178a9cd0e1b0" providerId="ADAL" clId="{6635BE88-E622-4209-B003-D5FF412B30B6}" dt="2022-10-10T10:31:06.684" v="1225" actId="478"/>
          <ac:spMkLst>
            <pc:docMk/>
            <pc:sldMk cId="3281700559" sldId="325"/>
            <ac:spMk id="2" creationId="{CC0F27B7-8749-5D54-F593-FB55A0F6A326}"/>
          </ac:spMkLst>
        </pc:spChg>
        <pc:spChg chg="add mod ord">
          <ac:chgData name="Quan Nguyen - Y17" userId="fcceac3d-5680-48d6-8dcd-178a9cd0e1b0" providerId="ADAL" clId="{6635BE88-E622-4209-B003-D5FF412B30B6}" dt="2022-10-10T10:32:20.817" v="1236" actId="167"/>
          <ac:spMkLst>
            <pc:docMk/>
            <pc:sldMk cId="3281700559" sldId="325"/>
            <ac:spMk id="3" creationId="{8E9DFDEC-A755-4820-432C-E50C3F32642E}"/>
          </ac:spMkLst>
        </pc:spChg>
        <pc:spChg chg="mod">
          <ac:chgData name="Quan Nguyen - Y17" userId="fcceac3d-5680-48d6-8dcd-178a9cd0e1b0" providerId="ADAL" clId="{6635BE88-E622-4209-B003-D5FF412B30B6}" dt="2022-10-10T10:31:17.018" v="1228" actId="1076"/>
          <ac:spMkLst>
            <pc:docMk/>
            <pc:sldMk cId="3281700559" sldId="325"/>
            <ac:spMk id="4" creationId="{F881D621-B657-8F8D-D924-7D53CCE7F8A2}"/>
          </ac:spMkLst>
        </pc:spChg>
        <pc:spChg chg="add mod ord">
          <ac:chgData name="Quan Nguyen - Y17" userId="fcceac3d-5680-48d6-8dcd-178a9cd0e1b0" providerId="ADAL" clId="{6635BE88-E622-4209-B003-D5FF412B30B6}" dt="2022-10-10T10:32:20.817" v="1236" actId="167"/>
          <ac:spMkLst>
            <pc:docMk/>
            <pc:sldMk cId="3281700559" sldId="325"/>
            <ac:spMk id="5" creationId="{CEE5F21F-A7B5-1490-EF0A-996472F80AE3}"/>
          </ac:spMkLst>
        </pc:spChg>
        <pc:spChg chg="add mod ord">
          <ac:chgData name="Quan Nguyen - Y17" userId="fcceac3d-5680-48d6-8dcd-178a9cd0e1b0" providerId="ADAL" clId="{6635BE88-E622-4209-B003-D5FF412B30B6}" dt="2022-10-10T10:32:20.817" v="1236" actId="167"/>
          <ac:spMkLst>
            <pc:docMk/>
            <pc:sldMk cId="3281700559" sldId="325"/>
            <ac:spMk id="6" creationId="{B4FD0DCB-AD86-A95E-EB8B-3EEE4EFA867E}"/>
          </ac:spMkLst>
        </pc:spChg>
        <pc:picChg chg="mod">
          <ac:chgData name="Quan Nguyen - Y17" userId="fcceac3d-5680-48d6-8dcd-178a9cd0e1b0" providerId="ADAL" clId="{6635BE88-E622-4209-B003-D5FF412B30B6}" dt="2022-10-10T10:31:12.897" v="1227" actId="1076"/>
          <ac:picMkLst>
            <pc:docMk/>
            <pc:sldMk cId="3281700559" sldId="325"/>
            <ac:picMk id="1026" creationId="{4E86E588-78BF-9001-424D-4F4CEFC7B1BE}"/>
          </ac:picMkLst>
        </pc:picChg>
      </pc:sldChg>
      <pc:sldChg chg="addSp modSp mod">
        <pc:chgData name="Quan Nguyen - Y17" userId="fcceac3d-5680-48d6-8dcd-178a9cd0e1b0" providerId="ADAL" clId="{6635BE88-E622-4209-B003-D5FF412B30B6}" dt="2022-10-10T10:34:04.408" v="1247" actId="167"/>
        <pc:sldMkLst>
          <pc:docMk/>
          <pc:sldMk cId="730781248" sldId="326"/>
        </pc:sldMkLst>
        <pc:spChg chg="mod">
          <ac:chgData name="Quan Nguyen - Y17" userId="fcceac3d-5680-48d6-8dcd-178a9cd0e1b0" providerId="ADAL" clId="{6635BE88-E622-4209-B003-D5FF412B30B6}" dt="2022-10-10T09:18:12.497" v="139"/>
          <ac:spMkLst>
            <pc:docMk/>
            <pc:sldMk cId="730781248" sldId="326"/>
            <ac:spMk id="2" creationId="{C778CEA1-F747-D16C-F224-C3925E80B77D}"/>
          </ac:spMkLst>
        </pc:spChg>
        <pc:spChg chg="add mod ord">
          <ac:chgData name="Quan Nguyen - Y17" userId="fcceac3d-5680-48d6-8dcd-178a9cd0e1b0" providerId="ADAL" clId="{6635BE88-E622-4209-B003-D5FF412B30B6}" dt="2022-10-10T10:34:04.408" v="1247" actId="167"/>
          <ac:spMkLst>
            <pc:docMk/>
            <pc:sldMk cId="730781248" sldId="326"/>
            <ac:spMk id="3" creationId="{A90D8440-13FA-6657-CF9F-51BF8831CB2D}"/>
          </ac:spMkLst>
        </pc:spChg>
        <pc:spChg chg="add mod ord">
          <ac:chgData name="Quan Nguyen - Y17" userId="fcceac3d-5680-48d6-8dcd-178a9cd0e1b0" providerId="ADAL" clId="{6635BE88-E622-4209-B003-D5FF412B30B6}" dt="2022-10-10T10:34:04.408" v="1247" actId="167"/>
          <ac:spMkLst>
            <pc:docMk/>
            <pc:sldMk cId="730781248" sldId="326"/>
            <ac:spMk id="5" creationId="{58EF9E4D-08FF-30A8-194B-B9B8468A2B2D}"/>
          </ac:spMkLst>
        </pc:spChg>
        <pc:spChg chg="add mod ord">
          <ac:chgData name="Quan Nguyen - Y17" userId="fcceac3d-5680-48d6-8dcd-178a9cd0e1b0" providerId="ADAL" clId="{6635BE88-E622-4209-B003-D5FF412B30B6}" dt="2022-10-10T10:34:04.408" v="1247" actId="167"/>
          <ac:spMkLst>
            <pc:docMk/>
            <pc:sldMk cId="730781248" sldId="326"/>
            <ac:spMk id="6" creationId="{2CE245B9-6AA9-B900-F2A0-3F72899661C0}"/>
          </ac:spMkLst>
        </pc:spChg>
      </pc:sldChg>
      <pc:sldChg chg="addSp delSp modSp mod">
        <pc:chgData name="Quan Nguyen - Y17" userId="fcceac3d-5680-48d6-8dcd-178a9cd0e1b0" providerId="ADAL" clId="{6635BE88-E622-4209-B003-D5FF412B30B6}" dt="2022-10-10T10:34:31.712" v="1253" actId="167"/>
        <pc:sldMkLst>
          <pc:docMk/>
          <pc:sldMk cId="1922360095" sldId="327"/>
        </pc:sldMkLst>
        <pc:spChg chg="del mod">
          <ac:chgData name="Quan Nguyen - Y17" userId="fcceac3d-5680-48d6-8dcd-178a9cd0e1b0" providerId="ADAL" clId="{6635BE88-E622-4209-B003-D5FF412B30B6}" dt="2022-10-10T10:34:24.627" v="1249" actId="478"/>
          <ac:spMkLst>
            <pc:docMk/>
            <pc:sldMk cId="1922360095" sldId="327"/>
            <ac:spMk id="2" creationId="{AD4D2E20-05A5-9DA7-43E8-87A49965675A}"/>
          </ac:spMkLst>
        </pc:spChg>
        <pc:spChg chg="add del mod">
          <ac:chgData name="Quan Nguyen - Y17" userId="fcceac3d-5680-48d6-8dcd-178a9cd0e1b0" providerId="ADAL" clId="{6635BE88-E622-4209-B003-D5FF412B30B6}" dt="2022-10-10T10:34:27.338" v="1251" actId="478"/>
          <ac:spMkLst>
            <pc:docMk/>
            <pc:sldMk cId="1922360095" sldId="327"/>
            <ac:spMk id="4" creationId="{06FE23FB-740D-9E75-473F-6D463E4E2838}"/>
          </ac:spMkLst>
        </pc:spChg>
        <pc:spChg chg="add mod ord">
          <ac:chgData name="Quan Nguyen - Y17" userId="fcceac3d-5680-48d6-8dcd-178a9cd0e1b0" providerId="ADAL" clId="{6635BE88-E622-4209-B003-D5FF412B30B6}" dt="2022-10-10T10:34:31.712" v="1253" actId="167"/>
          <ac:spMkLst>
            <pc:docMk/>
            <pc:sldMk cId="1922360095" sldId="327"/>
            <ac:spMk id="6" creationId="{34DA4CC1-FD9F-A1D5-642A-F0E0BDF80DAF}"/>
          </ac:spMkLst>
        </pc:spChg>
        <pc:spChg chg="add mod ord">
          <ac:chgData name="Quan Nguyen - Y17" userId="fcceac3d-5680-48d6-8dcd-178a9cd0e1b0" providerId="ADAL" clId="{6635BE88-E622-4209-B003-D5FF412B30B6}" dt="2022-10-10T10:34:31.712" v="1253" actId="167"/>
          <ac:spMkLst>
            <pc:docMk/>
            <pc:sldMk cId="1922360095" sldId="327"/>
            <ac:spMk id="8" creationId="{D0B1F3F5-BBBC-3FB3-68B2-45CE0E8FF4CE}"/>
          </ac:spMkLst>
        </pc:spChg>
        <pc:spChg chg="add mod ord">
          <ac:chgData name="Quan Nguyen - Y17" userId="fcceac3d-5680-48d6-8dcd-178a9cd0e1b0" providerId="ADAL" clId="{6635BE88-E622-4209-B003-D5FF412B30B6}" dt="2022-10-10T10:34:31.712" v="1253" actId="167"/>
          <ac:spMkLst>
            <pc:docMk/>
            <pc:sldMk cId="1922360095" sldId="327"/>
            <ac:spMk id="9" creationId="{E4C1C6D0-74EE-80B6-8EEF-BEDD405164D3}"/>
          </ac:spMkLst>
        </pc:spChg>
      </pc:sldChg>
      <pc:sldChg chg="modSp del">
        <pc:chgData name="Quan Nguyen - Y17" userId="fcceac3d-5680-48d6-8dcd-178a9cd0e1b0" providerId="ADAL" clId="{6635BE88-E622-4209-B003-D5FF412B30B6}" dt="2022-10-10T11:11:20.533" v="1787" actId="47"/>
        <pc:sldMkLst>
          <pc:docMk/>
          <pc:sldMk cId="2659498668" sldId="328"/>
        </pc:sldMkLst>
        <pc:spChg chg="mod">
          <ac:chgData name="Quan Nguyen - Y17" userId="fcceac3d-5680-48d6-8dcd-178a9cd0e1b0" providerId="ADAL" clId="{6635BE88-E622-4209-B003-D5FF412B30B6}" dt="2022-10-10T09:18:12.497" v="139"/>
          <ac:spMkLst>
            <pc:docMk/>
            <pc:sldMk cId="2659498668" sldId="328"/>
            <ac:spMk id="2" creationId="{C10C4D63-606F-0638-1DED-5A02C169F4BF}"/>
          </ac:spMkLst>
        </pc:spChg>
      </pc:sldChg>
      <pc:sldChg chg="del">
        <pc:chgData name="Quan Nguyen - Y17" userId="fcceac3d-5680-48d6-8dcd-178a9cd0e1b0" providerId="ADAL" clId="{6635BE88-E622-4209-B003-D5FF412B30B6}" dt="2022-10-10T09:10:57.805" v="15" actId="47"/>
        <pc:sldMkLst>
          <pc:docMk/>
          <pc:sldMk cId="697375034" sldId="329"/>
        </pc:sldMkLst>
      </pc:sldChg>
      <pc:sldChg chg="addSp modSp del mod">
        <pc:chgData name="Quan Nguyen - Y17" userId="fcceac3d-5680-48d6-8dcd-178a9cd0e1b0" providerId="ADAL" clId="{6635BE88-E622-4209-B003-D5FF412B30B6}" dt="2022-10-10T12:18:19.953" v="2910" actId="47"/>
        <pc:sldMkLst>
          <pc:docMk/>
          <pc:sldMk cId="512365569" sldId="330"/>
        </pc:sldMkLst>
        <pc:spChg chg="mod">
          <ac:chgData name="Quan Nguyen - Y17" userId="fcceac3d-5680-48d6-8dcd-178a9cd0e1b0" providerId="ADAL" clId="{6635BE88-E622-4209-B003-D5FF412B30B6}" dt="2022-10-10T09:17:41.731" v="137" actId="27636"/>
          <ac:spMkLst>
            <pc:docMk/>
            <pc:sldMk cId="512365569" sldId="330"/>
            <ac:spMk id="2" creationId="{78DBDD76-EF2D-CA7D-D960-BCF1719A4F9F}"/>
          </ac:spMkLst>
        </pc:spChg>
        <pc:picChg chg="add mod">
          <ac:chgData name="Quan Nguyen - Y17" userId="fcceac3d-5680-48d6-8dcd-178a9cd0e1b0" providerId="ADAL" clId="{6635BE88-E622-4209-B003-D5FF412B30B6}" dt="2022-10-10T11:42:17.562" v="2385" actId="571"/>
          <ac:picMkLst>
            <pc:docMk/>
            <pc:sldMk cId="512365569" sldId="330"/>
            <ac:picMk id="5" creationId="{898DA91D-EBE0-4A14-9DCC-AD537F1DE57F}"/>
          </ac:picMkLst>
        </pc:picChg>
        <pc:picChg chg="add mod">
          <ac:chgData name="Quan Nguyen - Y17" userId="fcceac3d-5680-48d6-8dcd-178a9cd0e1b0" providerId="ADAL" clId="{6635BE88-E622-4209-B003-D5FF412B30B6}" dt="2022-10-10T11:42:17.562" v="2385" actId="571"/>
          <ac:picMkLst>
            <pc:docMk/>
            <pc:sldMk cId="512365569" sldId="330"/>
            <ac:picMk id="6" creationId="{92CBBF1C-3D0F-3571-0E67-A231C4CC8A53}"/>
          </ac:picMkLst>
        </pc:picChg>
      </pc:sldChg>
      <pc:sldChg chg="modSp del modNotesTx">
        <pc:chgData name="Quan Nguyen - Y17" userId="fcceac3d-5680-48d6-8dcd-178a9cd0e1b0" providerId="ADAL" clId="{6635BE88-E622-4209-B003-D5FF412B30B6}" dt="2022-10-10T11:52:15.412" v="2467" actId="47"/>
        <pc:sldMkLst>
          <pc:docMk/>
          <pc:sldMk cId="2805825555" sldId="331"/>
        </pc:sldMkLst>
        <pc:spChg chg="mod">
          <ac:chgData name="Quan Nguyen - Y17" userId="fcceac3d-5680-48d6-8dcd-178a9cd0e1b0" providerId="ADAL" clId="{6635BE88-E622-4209-B003-D5FF412B30B6}" dt="2022-10-10T09:18:12.497" v="139"/>
          <ac:spMkLst>
            <pc:docMk/>
            <pc:sldMk cId="2805825555" sldId="331"/>
            <ac:spMk id="2" creationId="{CCD8FF0D-22CE-0443-7D39-CBCC8EA8B5F3}"/>
          </ac:spMkLst>
        </pc:spChg>
      </pc:sldChg>
      <pc:sldChg chg="modSp del">
        <pc:chgData name="Quan Nguyen - Y17" userId="fcceac3d-5680-48d6-8dcd-178a9cd0e1b0" providerId="ADAL" clId="{6635BE88-E622-4209-B003-D5FF412B30B6}" dt="2022-10-10T11:52:21.139" v="2468" actId="47"/>
        <pc:sldMkLst>
          <pc:docMk/>
          <pc:sldMk cId="1376607325" sldId="332"/>
        </pc:sldMkLst>
        <pc:spChg chg="mod">
          <ac:chgData name="Quan Nguyen - Y17" userId="fcceac3d-5680-48d6-8dcd-178a9cd0e1b0" providerId="ADAL" clId="{6635BE88-E622-4209-B003-D5FF412B30B6}" dt="2022-10-10T09:18:12.497" v="139"/>
          <ac:spMkLst>
            <pc:docMk/>
            <pc:sldMk cId="1376607325" sldId="332"/>
            <ac:spMk id="2" creationId="{CF355428-486E-CAD6-C688-5E58724F14EF}"/>
          </ac:spMkLst>
        </pc:spChg>
      </pc:sldChg>
      <pc:sldChg chg="modSp del">
        <pc:chgData name="Quan Nguyen - Y17" userId="fcceac3d-5680-48d6-8dcd-178a9cd0e1b0" providerId="ADAL" clId="{6635BE88-E622-4209-B003-D5FF412B30B6}" dt="2022-10-10T11:52:05.868" v="2466" actId="47"/>
        <pc:sldMkLst>
          <pc:docMk/>
          <pc:sldMk cId="3611423451" sldId="333"/>
        </pc:sldMkLst>
        <pc:spChg chg="mod">
          <ac:chgData name="Quan Nguyen - Y17" userId="fcceac3d-5680-48d6-8dcd-178a9cd0e1b0" providerId="ADAL" clId="{6635BE88-E622-4209-B003-D5FF412B30B6}" dt="2022-10-10T09:18:12.497" v="139"/>
          <ac:spMkLst>
            <pc:docMk/>
            <pc:sldMk cId="3611423451" sldId="333"/>
            <ac:spMk id="2" creationId="{CF355428-486E-CAD6-C688-5E58724F14EF}"/>
          </ac:spMkLst>
        </pc:spChg>
      </pc:sldChg>
      <pc:sldChg chg="modSp del">
        <pc:chgData name="Quan Nguyen - Y17" userId="fcceac3d-5680-48d6-8dcd-178a9cd0e1b0" providerId="ADAL" clId="{6635BE88-E622-4209-B003-D5FF412B30B6}" dt="2022-10-10T11:54:03.700" v="2483" actId="47"/>
        <pc:sldMkLst>
          <pc:docMk/>
          <pc:sldMk cId="3186538734" sldId="334"/>
        </pc:sldMkLst>
        <pc:spChg chg="mod">
          <ac:chgData name="Quan Nguyen - Y17" userId="fcceac3d-5680-48d6-8dcd-178a9cd0e1b0" providerId="ADAL" clId="{6635BE88-E622-4209-B003-D5FF412B30B6}" dt="2022-10-10T09:18:12.497" v="139"/>
          <ac:spMkLst>
            <pc:docMk/>
            <pc:sldMk cId="3186538734" sldId="334"/>
            <ac:spMk id="2" creationId="{5BF1D948-5778-23B6-A18B-AEB724E812FC}"/>
          </ac:spMkLst>
        </pc:spChg>
      </pc:sldChg>
      <pc:sldChg chg="modSp mod">
        <pc:chgData name="Quan Nguyen - Y17" userId="fcceac3d-5680-48d6-8dcd-178a9cd0e1b0" providerId="ADAL" clId="{6635BE88-E622-4209-B003-D5FF412B30B6}" dt="2022-10-10T09:37:22.043" v="375" actId="207"/>
        <pc:sldMkLst>
          <pc:docMk/>
          <pc:sldMk cId="3432651199" sldId="335"/>
        </pc:sldMkLst>
        <pc:spChg chg="mod">
          <ac:chgData name="Quan Nguyen - Y17" userId="fcceac3d-5680-48d6-8dcd-178a9cd0e1b0" providerId="ADAL" clId="{6635BE88-E622-4209-B003-D5FF412B30B6}" dt="2022-10-10T09:37:06.013" v="374" actId="207"/>
          <ac:spMkLst>
            <pc:docMk/>
            <pc:sldMk cId="3432651199" sldId="335"/>
            <ac:spMk id="3" creationId="{DF4FCC1F-00DF-2A6F-6777-8D8CCF29169B}"/>
          </ac:spMkLst>
        </pc:spChg>
        <pc:spChg chg="mod">
          <ac:chgData name="Quan Nguyen - Y17" userId="fcceac3d-5680-48d6-8dcd-178a9cd0e1b0" providerId="ADAL" clId="{6635BE88-E622-4209-B003-D5FF412B30B6}" dt="2022-10-10T09:37:22.043" v="375" actId="207"/>
          <ac:spMkLst>
            <pc:docMk/>
            <pc:sldMk cId="3432651199" sldId="335"/>
            <ac:spMk id="32" creationId="{0254CD6C-6F2A-43F1-81EE-18E08BFC464B}"/>
          </ac:spMkLst>
        </pc:spChg>
      </pc:sldChg>
      <pc:sldChg chg="modSp mod modNotesTx">
        <pc:chgData name="Quan Nguyen - Y17" userId="fcceac3d-5680-48d6-8dcd-178a9cd0e1b0" providerId="ADAL" clId="{6635BE88-E622-4209-B003-D5FF412B30B6}" dt="2022-10-10T10:18:21.617" v="1139" actId="2711"/>
        <pc:sldMkLst>
          <pc:docMk/>
          <pc:sldMk cId="3524512196" sldId="337"/>
        </pc:sldMkLst>
        <pc:spChg chg="mod">
          <ac:chgData name="Quan Nguyen - Y17" userId="fcceac3d-5680-48d6-8dcd-178a9cd0e1b0" providerId="ADAL" clId="{6635BE88-E622-4209-B003-D5FF412B30B6}" dt="2022-10-10T10:18:21.617" v="1139" actId="2711"/>
          <ac:spMkLst>
            <pc:docMk/>
            <pc:sldMk cId="3524512196" sldId="337"/>
            <ac:spMk id="7" creationId="{9065F0BC-0A5E-4161-BF7D-AC055EABC39D}"/>
          </ac:spMkLst>
        </pc:spChg>
        <pc:spChg chg="mod">
          <ac:chgData name="Quan Nguyen - Y17" userId="fcceac3d-5680-48d6-8dcd-178a9cd0e1b0" providerId="ADAL" clId="{6635BE88-E622-4209-B003-D5FF412B30B6}" dt="2022-10-10T10:18:21.617" v="1139" actId="2711"/>
          <ac:spMkLst>
            <pc:docMk/>
            <pc:sldMk cId="3524512196" sldId="337"/>
            <ac:spMk id="51" creationId="{7DF1AB91-8AE7-412A-8A3F-8BF9CF07638E}"/>
          </ac:spMkLst>
        </pc:spChg>
        <pc:spChg chg="mod">
          <ac:chgData name="Quan Nguyen - Y17" userId="fcceac3d-5680-48d6-8dcd-178a9cd0e1b0" providerId="ADAL" clId="{6635BE88-E622-4209-B003-D5FF412B30B6}" dt="2022-10-10T10:18:21.617" v="1139" actId="2711"/>
          <ac:spMkLst>
            <pc:docMk/>
            <pc:sldMk cId="3524512196" sldId="337"/>
            <ac:spMk id="70" creationId="{59C3BCDD-8DB4-44E3-9ABE-0B8A33955C4E}"/>
          </ac:spMkLst>
        </pc:spChg>
        <pc:spChg chg="mod">
          <ac:chgData name="Quan Nguyen - Y17" userId="fcceac3d-5680-48d6-8dcd-178a9cd0e1b0" providerId="ADAL" clId="{6635BE88-E622-4209-B003-D5FF412B30B6}" dt="2022-10-10T10:18:21.617" v="1139" actId="2711"/>
          <ac:spMkLst>
            <pc:docMk/>
            <pc:sldMk cId="3524512196" sldId="337"/>
            <ac:spMk id="71" creationId="{D308D527-A254-45FE-8589-A0C5C39ECD62}"/>
          </ac:spMkLst>
        </pc:spChg>
        <pc:spChg chg="mod">
          <ac:chgData name="Quan Nguyen - Y17" userId="fcceac3d-5680-48d6-8dcd-178a9cd0e1b0" providerId="ADAL" clId="{6635BE88-E622-4209-B003-D5FF412B30B6}" dt="2022-10-10T10:18:21.617" v="1139" actId="2711"/>
          <ac:spMkLst>
            <pc:docMk/>
            <pc:sldMk cId="3524512196" sldId="337"/>
            <ac:spMk id="72" creationId="{452D9CC6-5EFC-400C-BA97-68B79F1FAB85}"/>
          </ac:spMkLst>
        </pc:spChg>
        <pc:spChg chg="mod">
          <ac:chgData name="Quan Nguyen - Y17" userId="fcceac3d-5680-48d6-8dcd-178a9cd0e1b0" providerId="ADAL" clId="{6635BE88-E622-4209-B003-D5FF412B30B6}" dt="2022-10-10T10:18:21.617" v="1139" actId="2711"/>
          <ac:spMkLst>
            <pc:docMk/>
            <pc:sldMk cId="3524512196" sldId="337"/>
            <ac:spMk id="74" creationId="{5534F332-C2D2-4FCA-BCF9-C83B6780EAF1}"/>
          </ac:spMkLst>
        </pc:spChg>
        <pc:spChg chg="mod">
          <ac:chgData name="Quan Nguyen - Y17" userId="fcceac3d-5680-48d6-8dcd-178a9cd0e1b0" providerId="ADAL" clId="{6635BE88-E622-4209-B003-D5FF412B30B6}" dt="2022-10-10T10:18:21.617" v="1139" actId="2711"/>
          <ac:spMkLst>
            <pc:docMk/>
            <pc:sldMk cId="3524512196" sldId="337"/>
            <ac:spMk id="75" creationId="{44A2DE13-B985-4380-98F2-2AC474F46D60}"/>
          </ac:spMkLst>
        </pc:spChg>
        <pc:spChg chg="mod">
          <ac:chgData name="Quan Nguyen - Y17" userId="fcceac3d-5680-48d6-8dcd-178a9cd0e1b0" providerId="ADAL" clId="{6635BE88-E622-4209-B003-D5FF412B30B6}" dt="2022-10-10T10:18:21.617" v="1139" actId="2711"/>
          <ac:spMkLst>
            <pc:docMk/>
            <pc:sldMk cId="3524512196" sldId="337"/>
            <ac:spMk id="76" creationId="{EEC283E2-BCD1-4368-97B8-BBEDC8AD12AA}"/>
          </ac:spMkLst>
        </pc:spChg>
        <pc:spChg chg="mod">
          <ac:chgData name="Quan Nguyen - Y17" userId="fcceac3d-5680-48d6-8dcd-178a9cd0e1b0" providerId="ADAL" clId="{6635BE88-E622-4209-B003-D5FF412B30B6}" dt="2022-10-10T10:18:21.617" v="1139" actId="2711"/>
          <ac:spMkLst>
            <pc:docMk/>
            <pc:sldMk cId="3524512196" sldId="337"/>
            <ac:spMk id="79" creationId="{471A3722-4FBE-4D1C-9445-CDAECF4BE9D0}"/>
          </ac:spMkLst>
        </pc:spChg>
        <pc:spChg chg="mod">
          <ac:chgData name="Quan Nguyen - Y17" userId="fcceac3d-5680-48d6-8dcd-178a9cd0e1b0" providerId="ADAL" clId="{6635BE88-E622-4209-B003-D5FF412B30B6}" dt="2022-10-10T10:18:21.617" v="1139" actId="2711"/>
          <ac:spMkLst>
            <pc:docMk/>
            <pc:sldMk cId="3524512196" sldId="337"/>
            <ac:spMk id="80" creationId="{8E7093F7-547A-4B06-9E04-6378C6F40B84}"/>
          </ac:spMkLst>
        </pc:spChg>
        <pc:spChg chg="mod">
          <ac:chgData name="Quan Nguyen - Y17" userId="fcceac3d-5680-48d6-8dcd-178a9cd0e1b0" providerId="ADAL" clId="{6635BE88-E622-4209-B003-D5FF412B30B6}" dt="2022-10-10T10:18:21.617" v="1139" actId="2711"/>
          <ac:spMkLst>
            <pc:docMk/>
            <pc:sldMk cId="3524512196" sldId="337"/>
            <ac:spMk id="81" creationId="{040352BE-9EA9-4928-9BB8-12A18C43B855}"/>
          </ac:spMkLst>
        </pc:spChg>
        <pc:spChg chg="mod">
          <ac:chgData name="Quan Nguyen - Y17" userId="fcceac3d-5680-48d6-8dcd-178a9cd0e1b0" providerId="ADAL" clId="{6635BE88-E622-4209-B003-D5FF412B30B6}" dt="2022-10-10T10:18:21.617" v="1139" actId="2711"/>
          <ac:spMkLst>
            <pc:docMk/>
            <pc:sldMk cId="3524512196" sldId="337"/>
            <ac:spMk id="82" creationId="{C6B58C95-642B-4A6B-9665-BF2F065EA4F4}"/>
          </ac:spMkLst>
        </pc:spChg>
        <pc:spChg chg="mod">
          <ac:chgData name="Quan Nguyen - Y17" userId="fcceac3d-5680-48d6-8dcd-178a9cd0e1b0" providerId="ADAL" clId="{6635BE88-E622-4209-B003-D5FF412B30B6}" dt="2022-10-10T10:18:21.617" v="1139" actId="2711"/>
          <ac:spMkLst>
            <pc:docMk/>
            <pc:sldMk cId="3524512196" sldId="337"/>
            <ac:spMk id="83" creationId="{28849551-1E20-4DF5-A99D-68D4B87801C0}"/>
          </ac:spMkLst>
        </pc:spChg>
      </pc:sldChg>
      <pc:sldChg chg="modSp mod modNotesTx">
        <pc:chgData name="Quan Nguyen - Y17" userId="fcceac3d-5680-48d6-8dcd-178a9cd0e1b0" providerId="ADAL" clId="{6635BE88-E622-4209-B003-D5FF412B30B6}" dt="2022-10-10T10:35:17.072" v="1260" actId="167"/>
        <pc:sldMkLst>
          <pc:docMk/>
          <pc:sldMk cId="3277366484" sldId="338"/>
        </pc:sldMkLst>
        <pc:spChg chg="mod">
          <ac:chgData name="Quan Nguyen - Y17" userId="fcceac3d-5680-48d6-8dcd-178a9cd0e1b0" providerId="ADAL" clId="{6635BE88-E622-4209-B003-D5FF412B30B6}" dt="2022-10-10T10:18:37.820" v="1140" actId="2711"/>
          <ac:spMkLst>
            <pc:docMk/>
            <pc:sldMk cId="3277366484" sldId="338"/>
            <ac:spMk id="13" creationId="{1BDC47C5-632E-4F29-B869-B455C3444DF4}"/>
          </ac:spMkLst>
        </pc:spChg>
        <pc:spChg chg="mod">
          <ac:chgData name="Quan Nguyen - Y17" userId="fcceac3d-5680-48d6-8dcd-178a9cd0e1b0" providerId="ADAL" clId="{6635BE88-E622-4209-B003-D5FF412B30B6}" dt="2022-10-10T10:18:37.820" v="1140" actId="2711"/>
          <ac:spMkLst>
            <pc:docMk/>
            <pc:sldMk cId="3277366484" sldId="338"/>
            <ac:spMk id="14" creationId="{75D937E8-ACE5-44B9-8289-4EA6EFF979B0}"/>
          </ac:spMkLst>
        </pc:spChg>
        <pc:spChg chg="ord">
          <ac:chgData name="Quan Nguyen - Y17" userId="fcceac3d-5680-48d6-8dcd-178a9cd0e1b0" providerId="ADAL" clId="{6635BE88-E622-4209-B003-D5FF412B30B6}" dt="2022-10-10T10:35:17.072" v="1260" actId="167"/>
          <ac:spMkLst>
            <pc:docMk/>
            <pc:sldMk cId="3277366484" sldId="338"/>
            <ac:spMk id="15" creationId="{ACE311CC-2A7E-4437-A2BA-54D6597BDD16}"/>
          </ac:spMkLst>
        </pc:spChg>
      </pc:sldChg>
      <pc:sldChg chg="addSp delSp modSp mod">
        <pc:chgData name="Quan Nguyen - Y17" userId="fcceac3d-5680-48d6-8dcd-178a9cd0e1b0" providerId="ADAL" clId="{6635BE88-E622-4209-B003-D5FF412B30B6}" dt="2022-10-10T10:18:49.968" v="1141" actId="2711"/>
        <pc:sldMkLst>
          <pc:docMk/>
          <pc:sldMk cId="488871957" sldId="339"/>
        </pc:sldMkLst>
        <pc:spChg chg="del">
          <ac:chgData name="Quan Nguyen - Y17" userId="fcceac3d-5680-48d6-8dcd-178a9cd0e1b0" providerId="ADAL" clId="{6635BE88-E622-4209-B003-D5FF412B30B6}" dt="2022-10-10T09:35:38.811" v="367" actId="478"/>
          <ac:spMkLst>
            <pc:docMk/>
            <pc:sldMk cId="488871957" sldId="339"/>
            <ac:spMk id="2" creationId="{54812A9C-9EDB-8307-9C5B-0EAF862458EB}"/>
          </ac:spMkLst>
        </pc:spChg>
        <pc:spChg chg="mod">
          <ac:chgData name="Quan Nguyen - Y17" userId="fcceac3d-5680-48d6-8dcd-178a9cd0e1b0" providerId="ADAL" clId="{6635BE88-E622-4209-B003-D5FF412B30B6}" dt="2022-10-10T10:18:49.968" v="1141" actId="2711"/>
          <ac:spMkLst>
            <pc:docMk/>
            <pc:sldMk cId="488871957" sldId="339"/>
            <ac:spMk id="3" creationId="{85E83714-A81A-5730-EC8F-7A5679725199}"/>
          </ac:spMkLst>
        </pc:spChg>
        <pc:spChg chg="mod">
          <ac:chgData name="Quan Nguyen - Y17" userId="fcceac3d-5680-48d6-8dcd-178a9cd0e1b0" providerId="ADAL" clId="{6635BE88-E622-4209-B003-D5FF412B30B6}" dt="2022-10-10T10:18:49.968" v="1141" actId="2711"/>
          <ac:spMkLst>
            <pc:docMk/>
            <pc:sldMk cId="488871957" sldId="339"/>
            <ac:spMk id="4" creationId="{682D2B58-1076-2545-B2E0-5C60CF50ED4E}"/>
          </ac:spMkLst>
        </pc:spChg>
        <pc:spChg chg="mod">
          <ac:chgData name="Quan Nguyen - Y17" userId="fcceac3d-5680-48d6-8dcd-178a9cd0e1b0" providerId="ADAL" clId="{6635BE88-E622-4209-B003-D5FF412B30B6}" dt="2022-10-10T10:18:49.968" v="1141" actId="2711"/>
          <ac:spMkLst>
            <pc:docMk/>
            <pc:sldMk cId="488871957" sldId="339"/>
            <ac:spMk id="5" creationId="{F618C304-A284-19B1-DB9E-1CBB85D9C352}"/>
          </ac:spMkLst>
        </pc:spChg>
        <pc:spChg chg="mod">
          <ac:chgData name="Quan Nguyen - Y17" userId="fcceac3d-5680-48d6-8dcd-178a9cd0e1b0" providerId="ADAL" clId="{6635BE88-E622-4209-B003-D5FF412B30B6}" dt="2022-10-10T10:18:49.968" v="1141" actId="2711"/>
          <ac:spMkLst>
            <pc:docMk/>
            <pc:sldMk cId="488871957" sldId="339"/>
            <ac:spMk id="6" creationId="{95696897-C516-271F-74C8-D3DBDC81F86C}"/>
          </ac:spMkLst>
        </pc:spChg>
        <pc:spChg chg="mod">
          <ac:chgData name="Quan Nguyen - Y17" userId="fcceac3d-5680-48d6-8dcd-178a9cd0e1b0" providerId="ADAL" clId="{6635BE88-E622-4209-B003-D5FF412B30B6}" dt="2022-10-10T10:18:49.968" v="1141" actId="2711"/>
          <ac:spMkLst>
            <pc:docMk/>
            <pc:sldMk cId="488871957" sldId="339"/>
            <ac:spMk id="7" creationId="{83906388-974C-4372-4399-9193DA70B6A1}"/>
          </ac:spMkLst>
        </pc:spChg>
        <pc:spChg chg="mod">
          <ac:chgData name="Quan Nguyen - Y17" userId="fcceac3d-5680-48d6-8dcd-178a9cd0e1b0" providerId="ADAL" clId="{6635BE88-E622-4209-B003-D5FF412B30B6}" dt="2022-10-10T10:18:49.968" v="1141" actId="2711"/>
          <ac:spMkLst>
            <pc:docMk/>
            <pc:sldMk cId="488871957" sldId="339"/>
            <ac:spMk id="8" creationId="{95FADF8D-1304-76B7-7632-35D7D79A9E2A}"/>
          </ac:spMkLst>
        </pc:spChg>
        <pc:spChg chg="mod">
          <ac:chgData name="Quan Nguyen - Y17" userId="fcceac3d-5680-48d6-8dcd-178a9cd0e1b0" providerId="ADAL" clId="{6635BE88-E622-4209-B003-D5FF412B30B6}" dt="2022-10-10T10:18:49.968" v="1141" actId="2711"/>
          <ac:spMkLst>
            <pc:docMk/>
            <pc:sldMk cId="488871957" sldId="339"/>
            <ac:spMk id="9" creationId="{7F4FD32E-BDCE-4C95-F453-6BA21DC11A05}"/>
          </ac:spMkLst>
        </pc:spChg>
        <pc:spChg chg="mod">
          <ac:chgData name="Quan Nguyen - Y17" userId="fcceac3d-5680-48d6-8dcd-178a9cd0e1b0" providerId="ADAL" clId="{6635BE88-E622-4209-B003-D5FF412B30B6}" dt="2022-10-10T10:18:49.968" v="1141" actId="2711"/>
          <ac:spMkLst>
            <pc:docMk/>
            <pc:sldMk cId="488871957" sldId="339"/>
            <ac:spMk id="10" creationId="{F9D33E7A-1E17-BAEB-EBEB-FCD2ECEC4B46}"/>
          </ac:spMkLst>
        </pc:spChg>
        <pc:spChg chg="mod">
          <ac:chgData name="Quan Nguyen - Y17" userId="fcceac3d-5680-48d6-8dcd-178a9cd0e1b0" providerId="ADAL" clId="{6635BE88-E622-4209-B003-D5FF412B30B6}" dt="2022-10-10T10:18:49.968" v="1141" actId="2711"/>
          <ac:spMkLst>
            <pc:docMk/>
            <pc:sldMk cId="488871957" sldId="339"/>
            <ac:spMk id="11" creationId="{50AE829F-9106-23C5-03E6-AE55B445BDDB}"/>
          </ac:spMkLst>
        </pc:spChg>
        <pc:spChg chg="mod">
          <ac:chgData name="Quan Nguyen - Y17" userId="fcceac3d-5680-48d6-8dcd-178a9cd0e1b0" providerId="ADAL" clId="{6635BE88-E622-4209-B003-D5FF412B30B6}" dt="2022-10-10T10:18:49.968" v="1141" actId="2711"/>
          <ac:spMkLst>
            <pc:docMk/>
            <pc:sldMk cId="488871957" sldId="339"/>
            <ac:spMk id="12" creationId="{6116EEFA-E256-5028-9392-C9BB33E876D7}"/>
          </ac:spMkLst>
        </pc:spChg>
        <pc:spChg chg="add mod ord">
          <ac:chgData name="Quan Nguyen - Y17" userId="fcceac3d-5680-48d6-8dcd-178a9cd0e1b0" providerId="ADAL" clId="{6635BE88-E622-4209-B003-D5FF412B30B6}" dt="2022-10-10T10:18:49.968" v="1141" actId="2711"/>
          <ac:spMkLst>
            <pc:docMk/>
            <pc:sldMk cId="488871957" sldId="339"/>
            <ac:spMk id="16" creationId="{D4012241-6543-326F-A076-A23997B2FBE6}"/>
          </ac:spMkLst>
        </pc:spChg>
        <pc:spChg chg="add mod ord">
          <ac:chgData name="Quan Nguyen - Y17" userId="fcceac3d-5680-48d6-8dcd-178a9cd0e1b0" providerId="ADAL" clId="{6635BE88-E622-4209-B003-D5FF412B30B6}" dt="2022-10-10T10:18:49.968" v="1141" actId="2711"/>
          <ac:spMkLst>
            <pc:docMk/>
            <pc:sldMk cId="488871957" sldId="339"/>
            <ac:spMk id="17" creationId="{8A1E9A56-73A0-FFAA-D6BF-DCBE78AEBCCD}"/>
          </ac:spMkLst>
        </pc:spChg>
        <pc:spChg chg="add mod ord">
          <ac:chgData name="Quan Nguyen - Y17" userId="fcceac3d-5680-48d6-8dcd-178a9cd0e1b0" providerId="ADAL" clId="{6635BE88-E622-4209-B003-D5FF412B30B6}" dt="2022-10-10T10:18:49.968" v="1141" actId="2711"/>
          <ac:spMkLst>
            <pc:docMk/>
            <pc:sldMk cId="488871957" sldId="339"/>
            <ac:spMk id="18" creationId="{245A3A00-7FCD-D71F-FEBE-664552CE087A}"/>
          </ac:spMkLst>
        </pc:spChg>
        <pc:spChg chg="mod">
          <ac:chgData name="Quan Nguyen - Y17" userId="fcceac3d-5680-48d6-8dcd-178a9cd0e1b0" providerId="ADAL" clId="{6635BE88-E622-4209-B003-D5FF412B30B6}" dt="2022-10-10T10:18:49.968" v="1141" actId="2711"/>
          <ac:spMkLst>
            <pc:docMk/>
            <pc:sldMk cId="488871957" sldId="339"/>
            <ac:spMk id="20" creationId="{C0990BBD-950D-07A0-5894-C9DAE4A081B7}"/>
          </ac:spMkLst>
        </pc:spChg>
        <pc:spChg chg="mod">
          <ac:chgData name="Quan Nguyen - Y17" userId="fcceac3d-5680-48d6-8dcd-178a9cd0e1b0" providerId="ADAL" clId="{6635BE88-E622-4209-B003-D5FF412B30B6}" dt="2022-10-10T10:18:49.968" v="1141" actId="2711"/>
          <ac:spMkLst>
            <pc:docMk/>
            <pc:sldMk cId="488871957" sldId="339"/>
            <ac:spMk id="21" creationId="{DADB1713-8F10-B22F-D2E0-A03A9AB4F07D}"/>
          </ac:spMkLst>
        </pc:spChg>
        <pc:spChg chg="mod">
          <ac:chgData name="Quan Nguyen - Y17" userId="fcceac3d-5680-48d6-8dcd-178a9cd0e1b0" providerId="ADAL" clId="{6635BE88-E622-4209-B003-D5FF412B30B6}" dt="2022-10-10T09:31:36.990" v="357" actId="1076"/>
          <ac:spMkLst>
            <pc:docMk/>
            <pc:sldMk cId="488871957" sldId="339"/>
            <ac:spMk id="83" creationId="{EC99197A-1F6B-4498-BD1A-1E735D7E4EB6}"/>
          </ac:spMkLst>
        </pc:spChg>
        <pc:spChg chg="mod">
          <ac:chgData name="Quan Nguyen - Y17" userId="fcceac3d-5680-48d6-8dcd-178a9cd0e1b0" providerId="ADAL" clId="{6635BE88-E622-4209-B003-D5FF412B30B6}" dt="2022-10-10T09:31:36.990" v="357" actId="1076"/>
          <ac:spMkLst>
            <pc:docMk/>
            <pc:sldMk cId="488871957" sldId="339"/>
            <ac:spMk id="84" creationId="{F9C80C8E-5A49-482B-8FB1-2FEACFCA5ACA}"/>
          </ac:spMkLst>
        </pc:spChg>
        <pc:grpChg chg="add mod">
          <ac:chgData name="Quan Nguyen - Y17" userId="fcceac3d-5680-48d6-8dcd-178a9cd0e1b0" providerId="ADAL" clId="{6635BE88-E622-4209-B003-D5FF412B30B6}" dt="2022-10-10T09:35:39.888" v="368"/>
          <ac:grpSpMkLst>
            <pc:docMk/>
            <pc:sldMk cId="488871957" sldId="339"/>
            <ac:grpSpMk id="19" creationId="{14F24B96-E481-6989-9E13-3A4FC04E8559}"/>
          </ac:grpSpMkLst>
        </pc:grpChg>
        <pc:grpChg chg="mod">
          <ac:chgData name="Quan Nguyen - Y17" userId="fcceac3d-5680-48d6-8dcd-178a9cd0e1b0" providerId="ADAL" clId="{6635BE88-E622-4209-B003-D5FF412B30B6}" dt="2022-10-10T09:31:36.990" v="357" actId="1076"/>
          <ac:grpSpMkLst>
            <pc:docMk/>
            <pc:sldMk cId="488871957" sldId="339"/>
            <ac:grpSpMk id="82" creationId="{714A87C3-3EFB-4722-BF0D-17138DEB6B2B}"/>
          </ac:grpSpMkLst>
        </pc:grpChg>
        <pc:picChg chg="mod">
          <ac:chgData name="Quan Nguyen - Y17" userId="fcceac3d-5680-48d6-8dcd-178a9cd0e1b0" providerId="ADAL" clId="{6635BE88-E622-4209-B003-D5FF412B30B6}" dt="2022-10-10T09:31:44.951" v="358" actId="12788"/>
          <ac:picMkLst>
            <pc:docMk/>
            <pc:sldMk cId="488871957" sldId="339"/>
            <ac:picMk id="13" creationId="{A845544D-8488-1E81-41C2-99F7132DA017}"/>
          </ac:picMkLst>
        </pc:picChg>
        <pc:picChg chg="mod">
          <ac:chgData name="Quan Nguyen - Y17" userId="fcceac3d-5680-48d6-8dcd-178a9cd0e1b0" providerId="ADAL" clId="{6635BE88-E622-4209-B003-D5FF412B30B6}" dt="2022-10-10T09:32:14.746" v="361" actId="14100"/>
          <ac:picMkLst>
            <pc:docMk/>
            <pc:sldMk cId="488871957" sldId="339"/>
            <ac:picMk id="14" creationId="{07574D66-6ABA-4D43-2369-7DE0D3982448}"/>
          </ac:picMkLst>
        </pc:picChg>
        <pc:picChg chg="mod">
          <ac:chgData name="Quan Nguyen - Y17" userId="fcceac3d-5680-48d6-8dcd-178a9cd0e1b0" providerId="ADAL" clId="{6635BE88-E622-4209-B003-D5FF412B30B6}" dt="2022-10-10T09:25:23.705" v="183" actId="12788"/>
          <ac:picMkLst>
            <pc:docMk/>
            <pc:sldMk cId="488871957" sldId="339"/>
            <ac:picMk id="15" creationId="{16B0D382-9094-B133-D093-9D1BB720D405}"/>
          </ac:picMkLst>
        </pc:picChg>
      </pc:sldChg>
      <pc:sldChg chg="addSp delSp modSp mod modAnim modNotesTx">
        <pc:chgData name="Quan Nguyen - Y17" userId="fcceac3d-5680-48d6-8dcd-178a9cd0e1b0" providerId="ADAL" clId="{6635BE88-E622-4209-B003-D5FF412B30B6}" dt="2022-10-10T12:18:57.407" v="2912" actId="207"/>
        <pc:sldMkLst>
          <pc:docMk/>
          <pc:sldMk cId="2315544331" sldId="340"/>
        </pc:sldMkLst>
        <pc:spChg chg="add mod">
          <ac:chgData name="Quan Nguyen - Y17" userId="fcceac3d-5680-48d6-8dcd-178a9cd0e1b0" providerId="ADAL" clId="{6635BE88-E622-4209-B003-D5FF412B30B6}" dt="2022-10-10T09:08:35.805" v="4" actId="571"/>
          <ac:spMkLst>
            <pc:docMk/>
            <pc:sldMk cId="2315544331" sldId="340"/>
            <ac:spMk id="2" creationId="{B2D8254A-5D1A-E704-A8F3-36B04C8CDCA0}"/>
          </ac:spMkLst>
        </pc:spChg>
        <pc:spChg chg="add mod">
          <ac:chgData name="Quan Nguyen - Y17" userId="fcceac3d-5680-48d6-8dcd-178a9cd0e1b0" providerId="ADAL" clId="{6635BE88-E622-4209-B003-D5FF412B30B6}" dt="2022-10-10T09:08:35.805" v="4" actId="571"/>
          <ac:spMkLst>
            <pc:docMk/>
            <pc:sldMk cId="2315544331" sldId="340"/>
            <ac:spMk id="3" creationId="{240B2F26-DFF1-6743-3380-A5E021C8F204}"/>
          </ac:spMkLst>
        </pc:spChg>
        <pc:spChg chg="mod">
          <ac:chgData name="Quan Nguyen - Y17" userId="fcceac3d-5680-48d6-8dcd-178a9cd0e1b0" providerId="ADAL" clId="{6635BE88-E622-4209-B003-D5FF412B30B6}" dt="2022-10-10T09:09:13.987" v="8" actId="14100"/>
          <ac:spMkLst>
            <pc:docMk/>
            <pc:sldMk cId="2315544331" sldId="340"/>
            <ac:spMk id="17" creationId="{0A27ABDB-8549-4CFC-8E4E-B98508D1A959}"/>
          </ac:spMkLst>
        </pc:spChg>
        <pc:spChg chg="mod">
          <ac:chgData name="Quan Nguyen - Y17" userId="fcceac3d-5680-48d6-8dcd-178a9cd0e1b0" providerId="ADAL" clId="{6635BE88-E622-4209-B003-D5FF412B30B6}" dt="2022-10-10T10:19:03.444" v="1142" actId="2711"/>
          <ac:spMkLst>
            <pc:docMk/>
            <pc:sldMk cId="2315544331" sldId="340"/>
            <ac:spMk id="21" creationId="{E84861DD-27A9-3687-9840-F0E0A8BDBC10}"/>
          </ac:spMkLst>
        </pc:spChg>
        <pc:spChg chg="mod">
          <ac:chgData name="Quan Nguyen - Y17" userId="fcceac3d-5680-48d6-8dcd-178a9cd0e1b0" providerId="ADAL" clId="{6635BE88-E622-4209-B003-D5FF412B30B6}" dt="2022-10-10T10:19:03.444" v="1142" actId="2711"/>
          <ac:spMkLst>
            <pc:docMk/>
            <pc:sldMk cId="2315544331" sldId="340"/>
            <ac:spMk id="22" creationId="{47655815-FD53-83CF-A28E-AD5ED7FB8FE3}"/>
          </ac:spMkLst>
        </pc:spChg>
        <pc:spChg chg="mod">
          <ac:chgData name="Quan Nguyen - Y17" userId="fcceac3d-5680-48d6-8dcd-178a9cd0e1b0" providerId="ADAL" clId="{6635BE88-E622-4209-B003-D5FF412B30B6}" dt="2022-10-10T10:19:03.444" v="1142" actId="2711"/>
          <ac:spMkLst>
            <pc:docMk/>
            <pc:sldMk cId="2315544331" sldId="340"/>
            <ac:spMk id="23" creationId="{3C20B8E2-30D2-3261-B8CE-59A1A14E54DF}"/>
          </ac:spMkLst>
        </pc:spChg>
        <pc:spChg chg="mod">
          <ac:chgData name="Quan Nguyen - Y17" userId="fcceac3d-5680-48d6-8dcd-178a9cd0e1b0" providerId="ADAL" clId="{6635BE88-E622-4209-B003-D5FF412B30B6}" dt="2022-10-10T10:19:03.444" v="1142" actId="2711"/>
          <ac:spMkLst>
            <pc:docMk/>
            <pc:sldMk cId="2315544331" sldId="340"/>
            <ac:spMk id="24" creationId="{6A2D7DBE-D958-102D-A72B-F32738BFE758}"/>
          </ac:spMkLst>
        </pc:spChg>
        <pc:spChg chg="mod">
          <ac:chgData name="Quan Nguyen - Y17" userId="fcceac3d-5680-48d6-8dcd-178a9cd0e1b0" providerId="ADAL" clId="{6635BE88-E622-4209-B003-D5FF412B30B6}" dt="2022-10-10T10:19:03.444" v="1142" actId="2711"/>
          <ac:spMkLst>
            <pc:docMk/>
            <pc:sldMk cId="2315544331" sldId="340"/>
            <ac:spMk id="25" creationId="{791D3839-5A11-BF85-B154-4DE86255A609}"/>
          </ac:spMkLst>
        </pc:spChg>
        <pc:spChg chg="mod">
          <ac:chgData name="Quan Nguyen - Y17" userId="fcceac3d-5680-48d6-8dcd-178a9cd0e1b0" providerId="ADAL" clId="{6635BE88-E622-4209-B003-D5FF412B30B6}" dt="2022-10-10T10:19:03.444" v="1142" actId="2711"/>
          <ac:spMkLst>
            <pc:docMk/>
            <pc:sldMk cId="2315544331" sldId="340"/>
            <ac:spMk id="26" creationId="{73523794-4415-023A-5092-82BB31203868}"/>
          </ac:spMkLst>
        </pc:spChg>
        <pc:spChg chg="mod">
          <ac:chgData name="Quan Nguyen - Y17" userId="fcceac3d-5680-48d6-8dcd-178a9cd0e1b0" providerId="ADAL" clId="{6635BE88-E622-4209-B003-D5FF412B30B6}" dt="2022-10-10T10:19:03.444" v="1142" actId="2711"/>
          <ac:spMkLst>
            <pc:docMk/>
            <pc:sldMk cId="2315544331" sldId="340"/>
            <ac:spMk id="27" creationId="{81E7DBC4-6E9E-378C-CDBF-905A0DFBEA08}"/>
          </ac:spMkLst>
        </pc:spChg>
        <pc:spChg chg="mod">
          <ac:chgData name="Quan Nguyen - Y17" userId="fcceac3d-5680-48d6-8dcd-178a9cd0e1b0" providerId="ADAL" clId="{6635BE88-E622-4209-B003-D5FF412B30B6}" dt="2022-10-10T10:19:03.444" v="1142" actId="2711"/>
          <ac:spMkLst>
            <pc:docMk/>
            <pc:sldMk cId="2315544331" sldId="340"/>
            <ac:spMk id="28" creationId="{DC05FE29-FDD8-77D9-F61D-B492FE5FB87E}"/>
          </ac:spMkLst>
        </pc:spChg>
        <pc:spChg chg="mod">
          <ac:chgData name="Quan Nguyen - Y17" userId="fcceac3d-5680-48d6-8dcd-178a9cd0e1b0" providerId="ADAL" clId="{6635BE88-E622-4209-B003-D5FF412B30B6}" dt="2022-10-10T10:19:03.444" v="1142" actId="2711"/>
          <ac:spMkLst>
            <pc:docMk/>
            <pc:sldMk cId="2315544331" sldId="340"/>
            <ac:spMk id="29" creationId="{7DA5C00E-6260-DB7A-843F-208D9186C42C}"/>
          </ac:spMkLst>
        </pc:spChg>
        <pc:spChg chg="mod">
          <ac:chgData name="Quan Nguyen - Y17" userId="fcceac3d-5680-48d6-8dcd-178a9cd0e1b0" providerId="ADAL" clId="{6635BE88-E622-4209-B003-D5FF412B30B6}" dt="2022-10-10T09:09:49.021" v="9" actId="255"/>
          <ac:spMkLst>
            <pc:docMk/>
            <pc:sldMk cId="2315544331" sldId="340"/>
            <ac:spMk id="30" creationId="{5502BA3E-91D8-CA56-E1E5-C7F30BE644E2}"/>
          </ac:spMkLst>
        </pc:spChg>
        <pc:spChg chg="mod">
          <ac:chgData name="Quan Nguyen - Y17" userId="fcceac3d-5680-48d6-8dcd-178a9cd0e1b0" providerId="ADAL" clId="{6635BE88-E622-4209-B003-D5FF412B30B6}" dt="2022-10-10T09:09:49.021" v="9" actId="255"/>
          <ac:spMkLst>
            <pc:docMk/>
            <pc:sldMk cId="2315544331" sldId="340"/>
            <ac:spMk id="31" creationId="{7708684C-3187-2E00-2438-DF78FD264004}"/>
          </ac:spMkLst>
        </pc:spChg>
        <pc:spChg chg="mod">
          <ac:chgData name="Quan Nguyen - Y17" userId="fcceac3d-5680-48d6-8dcd-178a9cd0e1b0" providerId="ADAL" clId="{6635BE88-E622-4209-B003-D5FF412B30B6}" dt="2022-10-10T10:19:03.444" v="1142" actId="2711"/>
          <ac:spMkLst>
            <pc:docMk/>
            <pc:sldMk cId="2315544331" sldId="340"/>
            <ac:spMk id="32" creationId="{AF849972-E42C-55C4-BDCD-2D152039F677}"/>
          </ac:spMkLst>
        </pc:spChg>
        <pc:spChg chg="mod">
          <ac:chgData name="Quan Nguyen - Y17" userId="fcceac3d-5680-48d6-8dcd-178a9cd0e1b0" providerId="ADAL" clId="{6635BE88-E622-4209-B003-D5FF412B30B6}" dt="2022-10-10T10:19:03.444" v="1142" actId="2711"/>
          <ac:spMkLst>
            <pc:docMk/>
            <pc:sldMk cId="2315544331" sldId="340"/>
            <ac:spMk id="33" creationId="{0CF12A8C-D2FB-28BF-DF85-8D625049B625}"/>
          </ac:spMkLst>
        </pc:spChg>
        <pc:spChg chg="mod">
          <ac:chgData name="Quan Nguyen - Y17" userId="fcceac3d-5680-48d6-8dcd-178a9cd0e1b0" providerId="ADAL" clId="{6635BE88-E622-4209-B003-D5FF412B30B6}" dt="2022-10-10T10:19:03.444" v="1142" actId="2711"/>
          <ac:spMkLst>
            <pc:docMk/>
            <pc:sldMk cId="2315544331" sldId="340"/>
            <ac:spMk id="34" creationId="{C5F92563-DE12-AA8B-77A7-85AD35EE87BD}"/>
          </ac:spMkLst>
        </pc:spChg>
        <pc:spChg chg="mod">
          <ac:chgData name="Quan Nguyen - Y17" userId="fcceac3d-5680-48d6-8dcd-178a9cd0e1b0" providerId="ADAL" clId="{6635BE88-E622-4209-B003-D5FF412B30B6}" dt="2022-10-10T10:19:03.444" v="1142" actId="2711"/>
          <ac:spMkLst>
            <pc:docMk/>
            <pc:sldMk cId="2315544331" sldId="340"/>
            <ac:spMk id="35" creationId="{8F516113-B07A-6782-1445-ACCEA4205725}"/>
          </ac:spMkLst>
        </pc:spChg>
        <pc:spChg chg="mod">
          <ac:chgData name="Quan Nguyen - Y17" userId="fcceac3d-5680-48d6-8dcd-178a9cd0e1b0" providerId="ADAL" clId="{6635BE88-E622-4209-B003-D5FF412B30B6}" dt="2022-10-10T10:19:03.444" v="1142" actId="2711"/>
          <ac:spMkLst>
            <pc:docMk/>
            <pc:sldMk cId="2315544331" sldId="340"/>
            <ac:spMk id="36" creationId="{4B4681FA-7E80-75E5-CF58-8B594121EB56}"/>
          </ac:spMkLst>
        </pc:spChg>
        <pc:spChg chg="mod">
          <ac:chgData name="Quan Nguyen - Y17" userId="fcceac3d-5680-48d6-8dcd-178a9cd0e1b0" providerId="ADAL" clId="{6635BE88-E622-4209-B003-D5FF412B30B6}" dt="2022-10-10T10:19:07.820" v="1143" actId="2711"/>
          <ac:spMkLst>
            <pc:docMk/>
            <pc:sldMk cId="2315544331" sldId="340"/>
            <ac:spMk id="38" creationId="{CD39D86B-DF7E-490B-1ADD-7684E1626E41}"/>
          </ac:spMkLst>
        </pc:spChg>
        <pc:spChg chg="mod">
          <ac:chgData name="Quan Nguyen - Y17" userId="fcceac3d-5680-48d6-8dcd-178a9cd0e1b0" providerId="ADAL" clId="{6635BE88-E622-4209-B003-D5FF412B30B6}" dt="2022-10-10T12:18:57.407" v="2912" actId="207"/>
          <ac:spMkLst>
            <pc:docMk/>
            <pc:sldMk cId="2315544331" sldId="340"/>
            <ac:spMk id="39" creationId="{7DD460F3-6B6F-1DEE-FB09-5FD27F88DBD4}"/>
          </ac:spMkLst>
        </pc:spChg>
        <pc:spChg chg="mod">
          <ac:chgData name="Quan Nguyen - Y17" userId="fcceac3d-5680-48d6-8dcd-178a9cd0e1b0" providerId="ADAL" clId="{6635BE88-E622-4209-B003-D5FF412B30B6}" dt="2022-10-10T10:19:03.444" v="1142" actId="2711"/>
          <ac:spMkLst>
            <pc:docMk/>
            <pc:sldMk cId="2315544331" sldId="340"/>
            <ac:spMk id="183" creationId="{9BD9D4C9-303D-41A4-A402-99D2D79FA1F4}"/>
          </ac:spMkLst>
        </pc:spChg>
        <pc:spChg chg="mod">
          <ac:chgData name="Quan Nguyen - Y17" userId="fcceac3d-5680-48d6-8dcd-178a9cd0e1b0" providerId="ADAL" clId="{6635BE88-E622-4209-B003-D5FF412B30B6}" dt="2022-10-10T10:19:03.444" v="1142" actId="2711"/>
          <ac:spMkLst>
            <pc:docMk/>
            <pc:sldMk cId="2315544331" sldId="340"/>
            <ac:spMk id="184" creationId="{FF35A2C7-7F7E-49E8-91F3-9D5BBBDCA451}"/>
          </ac:spMkLst>
        </pc:spChg>
        <pc:grpChg chg="mod">
          <ac:chgData name="Quan Nguyen - Y17" userId="fcceac3d-5680-48d6-8dcd-178a9cd0e1b0" providerId="ADAL" clId="{6635BE88-E622-4209-B003-D5FF412B30B6}" dt="2022-10-10T09:09:49.021" v="9" actId="255"/>
          <ac:grpSpMkLst>
            <pc:docMk/>
            <pc:sldMk cId="2315544331" sldId="340"/>
            <ac:grpSpMk id="185" creationId="{8ED9B3ED-7120-4603-8CCD-E00D81660B0D}"/>
          </ac:grpSpMkLst>
        </pc:grpChg>
        <pc:cxnChg chg="del">
          <ac:chgData name="Quan Nguyen - Y17" userId="fcceac3d-5680-48d6-8dcd-178a9cd0e1b0" providerId="ADAL" clId="{6635BE88-E622-4209-B003-D5FF412B30B6}" dt="2022-10-10T12:17:07.280" v="2906" actId="478"/>
          <ac:cxnSpMkLst>
            <pc:docMk/>
            <pc:sldMk cId="2315544331" sldId="340"/>
            <ac:cxnSpMk id="100" creationId="{C37D7D94-A4F8-436E-A575-EF167AFBCF7C}"/>
          </ac:cxnSpMkLst>
        </pc:cxnChg>
      </pc:sldChg>
      <pc:sldChg chg="del">
        <pc:chgData name="Quan Nguyen - Y17" userId="fcceac3d-5680-48d6-8dcd-178a9cd0e1b0" providerId="ADAL" clId="{6635BE88-E622-4209-B003-D5FF412B30B6}" dt="2022-10-10T09:10:49.374" v="13" actId="47"/>
        <pc:sldMkLst>
          <pc:docMk/>
          <pc:sldMk cId="2311577833" sldId="341"/>
        </pc:sldMkLst>
      </pc:sldChg>
      <pc:sldChg chg="addSp delSp modSp add mod modNotesTx">
        <pc:chgData name="Quan Nguyen - Y17" userId="fcceac3d-5680-48d6-8dcd-178a9cd0e1b0" providerId="ADAL" clId="{6635BE88-E622-4209-B003-D5FF412B30B6}" dt="2022-10-10T10:19:44.997" v="1145" actId="2711"/>
        <pc:sldMkLst>
          <pc:docMk/>
          <pc:sldMk cId="459867519" sldId="342"/>
        </pc:sldMkLst>
        <pc:spChg chg="add del mod">
          <ac:chgData name="Quan Nguyen - Y17" userId="fcceac3d-5680-48d6-8dcd-178a9cd0e1b0" providerId="ADAL" clId="{6635BE88-E622-4209-B003-D5FF412B30B6}" dt="2022-10-10T09:16:12.358" v="120" actId="478"/>
          <ac:spMkLst>
            <pc:docMk/>
            <pc:sldMk cId="459867519" sldId="342"/>
            <ac:spMk id="9" creationId="{8DD74F92-454C-3734-D829-8E36E76A61BD}"/>
          </ac:spMkLst>
        </pc:spChg>
        <pc:spChg chg="mod">
          <ac:chgData name="Quan Nguyen - Y17" userId="fcceac3d-5680-48d6-8dcd-178a9cd0e1b0" providerId="ADAL" clId="{6635BE88-E622-4209-B003-D5FF412B30B6}" dt="2022-10-10T10:19:44.997" v="1145" actId="2711"/>
          <ac:spMkLst>
            <pc:docMk/>
            <pc:sldMk cId="459867519" sldId="342"/>
            <ac:spMk id="11" creationId="{A2520F80-9B1F-46A8-833A-DA2DD88868B7}"/>
          </ac:spMkLst>
        </pc:spChg>
        <pc:spChg chg="add mod">
          <ac:chgData name="Quan Nguyen - Y17" userId="fcceac3d-5680-48d6-8dcd-178a9cd0e1b0" providerId="ADAL" clId="{6635BE88-E622-4209-B003-D5FF412B30B6}" dt="2022-10-10T09:16:18.369" v="122" actId="1076"/>
          <ac:spMkLst>
            <pc:docMk/>
            <pc:sldMk cId="459867519" sldId="342"/>
            <ac:spMk id="12" creationId="{95C9A70B-11FC-CF0A-85ED-99678F2F6FDB}"/>
          </ac:spMkLst>
        </pc:spChg>
        <pc:spChg chg="add mod">
          <ac:chgData name="Quan Nguyen - Y17" userId="fcceac3d-5680-48d6-8dcd-178a9cd0e1b0" providerId="ADAL" clId="{6635BE88-E622-4209-B003-D5FF412B30B6}" dt="2022-10-10T09:17:09.109" v="131" actId="255"/>
          <ac:spMkLst>
            <pc:docMk/>
            <pc:sldMk cId="459867519" sldId="342"/>
            <ac:spMk id="13" creationId="{63DA71CE-3A6B-7A5A-BE76-D90E57701A90}"/>
          </ac:spMkLst>
        </pc:spChg>
        <pc:spChg chg="mod">
          <ac:chgData name="Quan Nguyen - Y17" userId="fcceac3d-5680-48d6-8dcd-178a9cd0e1b0" providerId="ADAL" clId="{6635BE88-E622-4209-B003-D5FF412B30B6}" dt="2022-10-10T09:16:25.664" v="123" actId="14100"/>
          <ac:spMkLst>
            <pc:docMk/>
            <pc:sldMk cId="459867519" sldId="342"/>
            <ac:spMk id="115" creationId="{ED0F79AF-D719-4434-B8B8-C6BAD906CCE4}"/>
          </ac:spMkLst>
        </pc:spChg>
        <pc:grpChg chg="del">
          <ac:chgData name="Quan Nguyen - Y17" userId="fcceac3d-5680-48d6-8dcd-178a9cd0e1b0" providerId="ADAL" clId="{6635BE88-E622-4209-B003-D5FF412B30B6}" dt="2022-10-10T09:11:57.594" v="26" actId="478"/>
          <ac:grpSpMkLst>
            <pc:docMk/>
            <pc:sldMk cId="459867519" sldId="342"/>
            <ac:grpSpMk id="10" creationId="{F174ACF1-EDF5-4702-AFA1-7DD389B8E75F}"/>
          </ac:grpSpMkLst>
        </pc:grpChg>
        <pc:grpChg chg="del">
          <ac:chgData name="Quan Nguyen - Y17" userId="fcceac3d-5680-48d6-8dcd-178a9cd0e1b0" providerId="ADAL" clId="{6635BE88-E622-4209-B003-D5FF412B30B6}" dt="2022-10-10T09:11:57.594" v="26" actId="478"/>
          <ac:grpSpMkLst>
            <pc:docMk/>
            <pc:sldMk cId="459867519" sldId="342"/>
            <ac:grpSpMk id="57" creationId="{FE36103B-90DA-484D-B54E-894D7C714845}"/>
          </ac:grpSpMkLst>
        </pc:grpChg>
        <pc:grpChg chg="del">
          <ac:chgData name="Quan Nguyen - Y17" userId="fcceac3d-5680-48d6-8dcd-178a9cd0e1b0" providerId="ADAL" clId="{6635BE88-E622-4209-B003-D5FF412B30B6}" dt="2022-10-10T09:11:57.594" v="26" actId="478"/>
          <ac:grpSpMkLst>
            <pc:docMk/>
            <pc:sldMk cId="459867519" sldId="342"/>
            <ac:grpSpMk id="63" creationId="{A65E27DD-A2CA-4057-8DBD-EB8AFB10FC41}"/>
          </ac:grpSpMkLst>
        </pc:grpChg>
        <pc:grpChg chg="del">
          <ac:chgData name="Quan Nguyen - Y17" userId="fcceac3d-5680-48d6-8dcd-178a9cd0e1b0" providerId="ADAL" clId="{6635BE88-E622-4209-B003-D5FF412B30B6}" dt="2022-10-10T09:11:57.594" v="26" actId="478"/>
          <ac:grpSpMkLst>
            <pc:docMk/>
            <pc:sldMk cId="459867519" sldId="342"/>
            <ac:grpSpMk id="69" creationId="{92205E44-7414-48E1-A0C8-63552468627B}"/>
          </ac:grpSpMkLst>
        </pc:grpChg>
        <pc:grpChg chg="del">
          <ac:chgData name="Quan Nguyen - Y17" userId="fcceac3d-5680-48d6-8dcd-178a9cd0e1b0" providerId="ADAL" clId="{6635BE88-E622-4209-B003-D5FF412B30B6}" dt="2022-10-10T09:11:57.594" v="26" actId="478"/>
          <ac:grpSpMkLst>
            <pc:docMk/>
            <pc:sldMk cId="459867519" sldId="342"/>
            <ac:grpSpMk id="75" creationId="{94E78B3E-F91D-4044-892F-578316460E37}"/>
          </ac:grpSpMkLst>
        </pc:grpChg>
        <pc:grpChg chg="del">
          <ac:chgData name="Quan Nguyen - Y17" userId="fcceac3d-5680-48d6-8dcd-178a9cd0e1b0" providerId="ADAL" clId="{6635BE88-E622-4209-B003-D5FF412B30B6}" dt="2022-10-10T09:11:57.594" v="26" actId="478"/>
          <ac:grpSpMkLst>
            <pc:docMk/>
            <pc:sldMk cId="459867519" sldId="342"/>
            <ac:grpSpMk id="81" creationId="{A647342C-E5DD-4B78-BFF1-0A18094C2B7D}"/>
          </ac:grpSpMkLst>
        </pc:grpChg>
        <pc:graphicFrameChg chg="del">
          <ac:chgData name="Quan Nguyen - Y17" userId="fcceac3d-5680-48d6-8dcd-178a9cd0e1b0" providerId="ADAL" clId="{6635BE88-E622-4209-B003-D5FF412B30B6}" dt="2022-10-10T09:11:39.216" v="22" actId="478"/>
          <ac:graphicFrameMkLst>
            <pc:docMk/>
            <pc:sldMk cId="459867519" sldId="342"/>
            <ac:graphicFrameMk id="21" creationId="{B3D0B3C8-FD0A-4C89-BE25-19C5A964FC30}"/>
          </ac:graphicFrameMkLst>
        </pc:graphicFrameChg>
        <pc:picChg chg="add mod">
          <ac:chgData name="Quan Nguyen - Y17" userId="fcceac3d-5680-48d6-8dcd-178a9cd0e1b0" providerId="ADAL" clId="{6635BE88-E622-4209-B003-D5FF412B30B6}" dt="2022-10-10T09:16:38.400" v="124" actId="1076"/>
          <ac:picMkLst>
            <pc:docMk/>
            <pc:sldMk cId="459867519" sldId="342"/>
            <ac:picMk id="2" creationId="{944EAD7B-5AFD-550C-CAE3-0A5F1EE1883F}"/>
          </ac:picMkLst>
        </pc:picChg>
        <pc:picChg chg="add del mod">
          <ac:chgData name="Quan Nguyen - Y17" userId="fcceac3d-5680-48d6-8dcd-178a9cd0e1b0" providerId="ADAL" clId="{6635BE88-E622-4209-B003-D5FF412B30B6}" dt="2022-10-10T09:15:06.480" v="69" actId="1076"/>
          <ac:picMkLst>
            <pc:docMk/>
            <pc:sldMk cId="459867519" sldId="342"/>
            <ac:picMk id="3" creationId="{8647AA6E-708B-A747-5D30-345ABCE1AE31}"/>
          </ac:picMkLst>
        </pc:picChg>
        <pc:picChg chg="add del mod">
          <ac:chgData name="Quan Nguyen - Y17" userId="fcceac3d-5680-48d6-8dcd-178a9cd0e1b0" providerId="ADAL" clId="{6635BE88-E622-4209-B003-D5FF412B30B6}" dt="2022-10-10T09:15:08.328" v="70" actId="1076"/>
          <ac:picMkLst>
            <pc:docMk/>
            <pc:sldMk cId="459867519" sldId="342"/>
            <ac:picMk id="4" creationId="{680B213A-CF04-22E6-C0C7-624611E31B8E}"/>
          </ac:picMkLst>
        </pc:picChg>
        <pc:picChg chg="add del mod">
          <ac:chgData name="Quan Nguyen - Y17" userId="fcceac3d-5680-48d6-8dcd-178a9cd0e1b0" providerId="ADAL" clId="{6635BE88-E622-4209-B003-D5FF412B30B6}" dt="2022-10-10T09:12:33.027" v="33" actId="478"/>
          <ac:picMkLst>
            <pc:docMk/>
            <pc:sldMk cId="459867519" sldId="342"/>
            <ac:picMk id="5" creationId="{9DE32A72-B0D1-347F-B3BC-6B2D8CFED5C9}"/>
          </ac:picMkLst>
        </pc:picChg>
        <pc:picChg chg="add del mod">
          <ac:chgData name="Quan Nguyen - Y17" userId="fcceac3d-5680-48d6-8dcd-178a9cd0e1b0" providerId="ADAL" clId="{6635BE88-E622-4209-B003-D5FF412B30B6}" dt="2022-10-10T09:13:56.042" v="59" actId="14861"/>
          <ac:picMkLst>
            <pc:docMk/>
            <pc:sldMk cId="459867519" sldId="342"/>
            <ac:picMk id="7" creationId="{9B8CA828-C0AD-A966-DC51-BD326F8B5726}"/>
          </ac:picMkLst>
        </pc:picChg>
        <pc:picChg chg="add del mod">
          <ac:chgData name="Quan Nguyen - Y17" userId="fcceac3d-5680-48d6-8dcd-178a9cd0e1b0" providerId="ADAL" clId="{6635BE88-E622-4209-B003-D5FF412B30B6}" dt="2022-10-10T09:14:56.800" v="67" actId="14100"/>
          <ac:picMkLst>
            <pc:docMk/>
            <pc:sldMk cId="459867519" sldId="342"/>
            <ac:picMk id="8" creationId="{E0689C6A-990E-8E7D-2100-8497A254FAAA}"/>
          </ac:picMkLst>
        </pc:picChg>
        <pc:picChg chg="del">
          <ac:chgData name="Quan Nguyen - Y17" userId="fcceac3d-5680-48d6-8dcd-178a9cd0e1b0" providerId="ADAL" clId="{6635BE88-E622-4209-B003-D5FF412B30B6}" dt="2022-10-10T09:11:35.403" v="19" actId="478"/>
          <ac:picMkLst>
            <pc:docMk/>
            <pc:sldMk cId="459867519" sldId="342"/>
            <ac:picMk id="99" creationId="{CCFED320-9A3C-42BF-8E9D-166B42D246E5}"/>
          </ac:picMkLst>
        </pc:picChg>
        <pc:picChg chg="del">
          <ac:chgData name="Quan Nguyen - Y17" userId="fcceac3d-5680-48d6-8dcd-178a9cd0e1b0" providerId="ADAL" clId="{6635BE88-E622-4209-B003-D5FF412B30B6}" dt="2022-10-10T09:11:36.086" v="20" actId="478"/>
          <ac:picMkLst>
            <pc:docMk/>
            <pc:sldMk cId="459867519" sldId="342"/>
            <ac:picMk id="102" creationId="{17FA03EE-0148-47EC-9525-7063FB3F7D75}"/>
          </ac:picMkLst>
        </pc:picChg>
        <pc:picChg chg="del">
          <ac:chgData name="Quan Nguyen - Y17" userId="fcceac3d-5680-48d6-8dcd-178a9cd0e1b0" providerId="ADAL" clId="{6635BE88-E622-4209-B003-D5FF412B30B6}" dt="2022-10-10T09:11:36.637" v="21" actId="478"/>
          <ac:picMkLst>
            <pc:docMk/>
            <pc:sldMk cId="459867519" sldId="342"/>
            <ac:picMk id="113" creationId="{9EFA1926-975C-404E-989B-C537F16F6BE8}"/>
          </ac:picMkLst>
        </pc:picChg>
      </pc:sldChg>
      <pc:sldChg chg="del">
        <pc:chgData name="Quan Nguyen - Y17" userId="fcceac3d-5680-48d6-8dcd-178a9cd0e1b0" providerId="ADAL" clId="{6635BE88-E622-4209-B003-D5FF412B30B6}" dt="2022-10-10T09:08:04.446" v="2" actId="47"/>
        <pc:sldMkLst>
          <pc:docMk/>
          <pc:sldMk cId="1767173859" sldId="342"/>
        </pc:sldMkLst>
      </pc:sldChg>
      <pc:sldChg chg="addSp delSp modSp add mod modNotesTx">
        <pc:chgData name="Quan Nguyen - Y17" userId="fcceac3d-5680-48d6-8dcd-178a9cd0e1b0" providerId="ADAL" clId="{6635BE88-E622-4209-B003-D5FF412B30B6}" dt="2022-10-10T10:19:59.620" v="1146" actId="113"/>
        <pc:sldMkLst>
          <pc:docMk/>
          <pc:sldMk cId="722779773" sldId="343"/>
        </pc:sldMkLst>
        <pc:spChg chg="add mod">
          <ac:chgData name="Quan Nguyen - Y17" userId="fcceac3d-5680-48d6-8dcd-178a9cd0e1b0" providerId="ADAL" clId="{6635BE88-E622-4209-B003-D5FF412B30B6}" dt="2022-10-10T10:19:28.430" v="1144" actId="2711"/>
          <ac:spMkLst>
            <pc:docMk/>
            <pc:sldMk cId="722779773" sldId="343"/>
            <ac:spMk id="5" creationId="{0F147420-BF4D-A635-B6E1-42A2EE6D06FB}"/>
          </ac:spMkLst>
        </pc:spChg>
        <pc:spChg chg="mod">
          <ac:chgData name="Quan Nguyen - Y17" userId="fcceac3d-5680-48d6-8dcd-178a9cd0e1b0" providerId="ADAL" clId="{6635BE88-E622-4209-B003-D5FF412B30B6}" dt="2022-10-10T10:19:59.620" v="1146" actId="113"/>
          <ac:spMkLst>
            <pc:docMk/>
            <pc:sldMk cId="722779773" sldId="343"/>
            <ac:spMk id="11" creationId="{A2520F80-9B1F-46A8-833A-DA2DD88868B7}"/>
          </ac:spMkLst>
        </pc:spChg>
        <pc:spChg chg="mod">
          <ac:chgData name="Quan Nguyen - Y17" userId="fcceac3d-5680-48d6-8dcd-178a9cd0e1b0" providerId="ADAL" clId="{6635BE88-E622-4209-B003-D5FF412B30B6}" dt="2022-10-10T10:19:59.620" v="1146" actId="113"/>
          <ac:spMkLst>
            <pc:docMk/>
            <pc:sldMk cId="722779773" sldId="343"/>
            <ac:spMk id="12" creationId="{95C9A70B-11FC-CF0A-85ED-99678F2F6FDB}"/>
          </ac:spMkLst>
        </pc:spChg>
        <pc:spChg chg="mod">
          <ac:chgData name="Quan Nguyen - Y17" userId="fcceac3d-5680-48d6-8dcd-178a9cd0e1b0" providerId="ADAL" clId="{6635BE88-E622-4209-B003-D5FF412B30B6}" dt="2022-10-10T10:19:28.430" v="1144" actId="2711"/>
          <ac:spMkLst>
            <pc:docMk/>
            <pc:sldMk cId="722779773" sldId="343"/>
            <ac:spMk id="13" creationId="{63DA71CE-3A6B-7A5A-BE76-D90E57701A90}"/>
          </ac:spMkLst>
        </pc:spChg>
        <pc:spChg chg="add mod">
          <ac:chgData name="Quan Nguyen - Y17" userId="fcceac3d-5680-48d6-8dcd-178a9cd0e1b0" providerId="ADAL" clId="{6635BE88-E622-4209-B003-D5FF412B30B6}" dt="2022-10-10T10:19:28.430" v="1144" actId="2711"/>
          <ac:spMkLst>
            <pc:docMk/>
            <pc:sldMk cId="722779773" sldId="343"/>
            <ac:spMk id="15" creationId="{08E00CE3-7AF9-A0C5-1DD7-76EDDF15A956}"/>
          </ac:spMkLst>
        </pc:spChg>
        <pc:spChg chg="mod">
          <ac:chgData name="Quan Nguyen - Y17" userId="fcceac3d-5680-48d6-8dcd-178a9cd0e1b0" providerId="ADAL" clId="{6635BE88-E622-4209-B003-D5FF412B30B6}" dt="2022-10-10T09:19:26.328" v="149" actId="14100"/>
          <ac:spMkLst>
            <pc:docMk/>
            <pc:sldMk cId="722779773" sldId="343"/>
            <ac:spMk id="115" creationId="{ED0F79AF-D719-4434-B8B8-C6BAD906CCE4}"/>
          </ac:spMkLst>
        </pc:spChg>
        <pc:spChg chg="mod">
          <ac:chgData name="Quan Nguyen - Y17" userId="fcceac3d-5680-48d6-8dcd-178a9cd0e1b0" providerId="ADAL" clId="{6635BE88-E622-4209-B003-D5FF412B30B6}" dt="2022-10-10T10:19:28.430" v="1144" actId="2711"/>
          <ac:spMkLst>
            <pc:docMk/>
            <pc:sldMk cId="722779773" sldId="343"/>
            <ac:spMk id="117" creationId="{F0F43D88-7132-4834-A0CB-DC04939A2D34}"/>
          </ac:spMkLst>
        </pc:spChg>
        <pc:spChg chg="mod">
          <ac:chgData name="Quan Nguyen - Y17" userId="fcceac3d-5680-48d6-8dcd-178a9cd0e1b0" providerId="ADAL" clId="{6635BE88-E622-4209-B003-D5FF412B30B6}" dt="2022-10-10T10:19:28.430" v="1144" actId="2711"/>
          <ac:spMkLst>
            <pc:docMk/>
            <pc:sldMk cId="722779773" sldId="343"/>
            <ac:spMk id="118" creationId="{15EB6D2D-726F-488C-99B2-96F28A6A4260}"/>
          </ac:spMkLst>
        </pc:spChg>
        <pc:spChg chg="mod">
          <ac:chgData name="Quan Nguyen - Y17" userId="fcceac3d-5680-48d6-8dcd-178a9cd0e1b0" providerId="ADAL" clId="{6635BE88-E622-4209-B003-D5FF412B30B6}" dt="2022-10-10T10:19:28.430" v="1144" actId="2711"/>
          <ac:spMkLst>
            <pc:docMk/>
            <pc:sldMk cId="722779773" sldId="343"/>
            <ac:spMk id="126" creationId="{3AEF0D66-648A-4DFD-927D-9284DF5BC822}"/>
          </ac:spMkLst>
        </pc:spChg>
        <pc:grpChg chg="add mod">
          <ac:chgData name="Quan Nguyen - Y17" userId="fcceac3d-5680-48d6-8dcd-178a9cd0e1b0" providerId="ADAL" clId="{6635BE88-E622-4209-B003-D5FF412B30B6}" dt="2022-10-10T09:22:20.919" v="168" actId="164"/>
          <ac:grpSpMkLst>
            <pc:docMk/>
            <pc:sldMk cId="722779773" sldId="343"/>
            <ac:grpSpMk id="9" creationId="{5212646F-A27D-2071-F87E-B4525623F1B2}"/>
          </ac:grpSpMkLst>
        </pc:grpChg>
        <pc:picChg chg="del">
          <ac:chgData name="Quan Nguyen - Y17" userId="fcceac3d-5680-48d6-8dcd-178a9cd0e1b0" providerId="ADAL" clId="{6635BE88-E622-4209-B003-D5FF412B30B6}" dt="2022-10-10T09:18:31.920" v="140" actId="478"/>
          <ac:picMkLst>
            <pc:docMk/>
            <pc:sldMk cId="722779773" sldId="343"/>
            <ac:picMk id="2" creationId="{944EAD7B-5AFD-550C-CAE3-0A5F1EE1883F}"/>
          </ac:picMkLst>
        </pc:picChg>
        <pc:picChg chg="del">
          <ac:chgData name="Quan Nguyen - Y17" userId="fcceac3d-5680-48d6-8dcd-178a9cd0e1b0" providerId="ADAL" clId="{6635BE88-E622-4209-B003-D5FF412B30B6}" dt="2022-10-10T09:18:35.276" v="141" actId="478"/>
          <ac:picMkLst>
            <pc:docMk/>
            <pc:sldMk cId="722779773" sldId="343"/>
            <ac:picMk id="3" creationId="{8647AA6E-708B-A747-5D30-345ABCE1AE31}"/>
          </ac:picMkLst>
        </pc:picChg>
        <pc:picChg chg="del">
          <ac:chgData name="Quan Nguyen - Y17" userId="fcceac3d-5680-48d6-8dcd-178a9cd0e1b0" providerId="ADAL" clId="{6635BE88-E622-4209-B003-D5FF412B30B6}" dt="2022-10-10T09:18:35.276" v="141" actId="478"/>
          <ac:picMkLst>
            <pc:docMk/>
            <pc:sldMk cId="722779773" sldId="343"/>
            <ac:picMk id="4" creationId="{680B213A-CF04-22E6-C0C7-624611E31B8E}"/>
          </ac:picMkLst>
        </pc:picChg>
        <pc:picChg chg="del">
          <ac:chgData name="Quan Nguyen - Y17" userId="fcceac3d-5680-48d6-8dcd-178a9cd0e1b0" providerId="ADAL" clId="{6635BE88-E622-4209-B003-D5FF412B30B6}" dt="2022-10-10T09:18:35.276" v="141" actId="478"/>
          <ac:picMkLst>
            <pc:docMk/>
            <pc:sldMk cId="722779773" sldId="343"/>
            <ac:picMk id="7" creationId="{9B8CA828-C0AD-A966-DC51-BD326F8B5726}"/>
          </ac:picMkLst>
        </pc:picChg>
        <pc:picChg chg="del">
          <ac:chgData name="Quan Nguyen - Y17" userId="fcceac3d-5680-48d6-8dcd-178a9cd0e1b0" providerId="ADAL" clId="{6635BE88-E622-4209-B003-D5FF412B30B6}" dt="2022-10-10T09:18:35.276" v="141" actId="478"/>
          <ac:picMkLst>
            <pc:docMk/>
            <pc:sldMk cId="722779773" sldId="343"/>
            <ac:picMk id="8" creationId="{E0689C6A-990E-8E7D-2100-8497A254FAAA}"/>
          </ac:picMkLst>
        </pc:picChg>
        <pc:cxnChg chg="add mod ord">
          <ac:chgData name="Quan Nguyen - Y17" userId="fcceac3d-5680-48d6-8dcd-178a9cd0e1b0" providerId="ADAL" clId="{6635BE88-E622-4209-B003-D5FF412B30B6}" dt="2022-10-10T09:41:50.836" v="412" actId="12788"/>
          <ac:cxnSpMkLst>
            <pc:docMk/>
            <pc:sldMk cId="722779773" sldId="343"/>
            <ac:cxnSpMk id="14" creationId="{36EA97E5-E966-CE69-0E4F-C9FD865E4F53}"/>
          </ac:cxnSpMkLst>
        </pc:cxnChg>
      </pc:sldChg>
      <pc:sldChg chg="new del">
        <pc:chgData name="Quan Nguyen - Y17" userId="fcceac3d-5680-48d6-8dcd-178a9cd0e1b0" providerId="ADAL" clId="{6635BE88-E622-4209-B003-D5FF412B30B6}" dt="2022-10-10T09:07:56.600" v="1" actId="47"/>
        <pc:sldMkLst>
          <pc:docMk/>
          <pc:sldMk cId="2199186489" sldId="343"/>
        </pc:sldMkLst>
      </pc:sldChg>
      <pc:sldChg chg="addSp delSp modSp add mod modNotesTx">
        <pc:chgData name="Quan Nguyen - Y17" userId="fcceac3d-5680-48d6-8dcd-178a9cd0e1b0" providerId="ADAL" clId="{6635BE88-E622-4209-B003-D5FF412B30B6}" dt="2022-10-10T12:19:07.080" v="2914" actId="207"/>
        <pc:sldMkLst>
          <pc:docMk/>
          <pc:sldMk cId="2781693379" sldId="344"/>
        </pc:sldMkLst>
        <pc:spChg chg="mod">
          <ac:chgData name="Quan Nguyen - Y17" userId="fcceac3d-5680-48d6-8dcd-178a9cd0e1b0" providerId="ADAL" clId="{6635BE88-E622-4209-B003-D5FF412B30B6}" dt="2022-10-10T12:19:07.080" v="2914" actId="207"/>
          <ac:spMkLst>
            <pc:docMk/>
            <pc:sldMk cId="2781693379" sldId="344"/>
            <ac:spMk id="3" creationId="{97893D96-EBB8-6922-733A-6B22C189EFD9}"/>
          </ac:spMkLst>
        </pc:spChg>
        <pc:spChg chg="mod">
          <ac:chgData name="Quan Nguyen - Y17" userId="fcceac3d-5680-48d6-8dcd-178a9cd0e1b0" providerId="ADAL" clId="{6635BE88-E622-4209-B003-D5FF412B30B6}" dt="2022-10-10T10:20:14.025" v="1147" actId="2711"/>
          <ac:spMkLst>
            <pc:docMk/>
            <pc:sldMk cId="2781693379" sldId="344"/>
            <ac:spMk id="4" creationId="{B2ECB9D7-9845-DF30-0167-9D75C886B487}"/>
          </ac:spMkLst>
        </pc:spChg>
        <pc:spChg chg="add mod">
          <ac:chgData name="Quan Nguyen - Y17" userId="fcceac3d-5680-48d6-8dcd-178a9cd0e1b0" providerId="ADAL" clId="{6635BE88-E622-4209-B003-D5FF412B30B6}" dt="2022-10-10T10:20:21.474" v="1149" actId="1076"/>
          <ac:spMkLst>
            <pc:docMk/>
            <pc:sldMk cId="2781693379" sldId="344"/>
            <ac:spMk id="5" creationId="{B07C2C8F-AB3C-66A3-B383-DC7E4A8E976D}"/>
          </ac:spMkLst>
        </pc:spChg>
        <pc:spChg chg="del mod">
          <ac:chgData name="Quan Nguyen - Y17" userId="fcceac3d-5680-48d6-8dcd-178a9cd0e1b0" providerId="ADAL" clId="{6635BE88-E622-4209-B003-D5FF412B30B6}" dt="2022-10-10T09:51:10.584" v="494" actId="478"/>
          <ac:spMkLst>
            <pc:docMk/>
            <pc:sldMk cId="2781693379" sldId="344"/>
            <ac:spMk id="9" creationId="{49CD00E1-3396-42EB-28EE-1E0439FA7DC5}"/>
          </ac:spMkLst>
        </pc:spChg>
        <pc:spChg chg="del mod">
          <ac:chgData name="Quan Nguyen - Y17" userId="fcceac3d-5680-48d6-8dcd-178a9cd0e1b0" providerId="ADAL" clId="{6635BE88-E622-4209-B003-D5FF412B30B6}" dt="2022-10-10T09:51:13.404" v="495" actId="478"/>
          <ac:spMkLst>
            <pc:docMk/>
            <pc:sldMk cId="2781693379" sldId="344"/>
            <ac:spMk id="10" creationId="{CEA80C40-B151-66FD-B4BB-D7F2883BF3E6}"/>
          </ac:spMkLst>
        </pc:spChg>
        <pc:spChg chg="del">
          <ac:chgData name="Quan Nguyen - Y17" userId="fcceac3d-5680-48d6-8dcd-178a9cd0e1b0" providerId="ADAL" clId="{6635BE88-E622-4209-B003-D5FF412B30B6}" dt="2022-10-10T09:22:29.583" v="169" actId="478"/>
          <ac:spMkLst>
            <pc:docMk/>
            <pc:sldMk cId="2781693379" sldId="344"/>
            <ac:spMk id="11" creationId="{A2520F80-9B1F-46A8-833A-DA2DD88868B7}"/>
          </ac:spMkLst>
        </pc:spChg>
        <pc:spChg chg="mod">
          <ac:chgData name="Quan Nguyen - Y17" userId="fcceac3d-5680-48d6-8dcd-178a9cd0e1b0" providerId="ADAL" clId="{6635BE88-E622-4209-B003-D5FF412B30B6}" dt="2022-10-10T09:45:55.269" v="460" actId="115"/>
          <ac:spMkLst>
            <pc:docMk/>
            <pc:sldMk cId="2781693379" sldId="344"/>
            <ac:spMk id="12" creationId="{05694C6A-1D6B-901D-F715-2D551D46B75B}"/>
          </ac:spMkLst>
        </pc:spChg>
        <pc:spChg chg="add del mod">
          <ac:chgData name="Quan Nguyen - Y17" userId="fcceac3d-5680-48d6-8dcd-178a9cd0e1b0" providerId="ADAL" clId="{6635BE88-E622-4209-B003-D5FF412B30B6}" dt="2022-10-10T09:52:35.250" v="508" actId="478"/>
          <ac:spMkLst>
            <pc:docMk/>
            <pc:sldMk cId="2781693379" sldId="344"/>
            <ac:spMk id="20" creationId="{01EC6D50-2CC0-477E-9993-E5F22EF6993F}"/>
          </ac:spMkLst>
        </pc:spChg>
        <pc:spChg chg="mod">
          <ac:chgData name="Quan Nguyen - Y17" userId="fcceac3d-5680-48d6-8dcd-178a9cd0e1b0" providerId="ADAL" clId="{6635BE88-E622-4209-B003-D5FF412B30B6}" dt="2022-10-10T10:20:14.025" v="1147" actId="2711"/>
          <ac:spMkLst>
            <pc:docMk/>
            <pc:sldMk cId="2781693379" sldId="344"/>
            <ac:spMk id="24" creationId="{3AA73513-9C3D-117D-F35E-93A7376598A7}"/>
          </ac:spMkLst>
        </pc:spChg>
        <pc:spChg chg="mod">
          <ac:chgData name="Quan Nguyen - Y17" userId="fcceac3d-5680-48d6-8dcd-178a9cd0e1b0" providerId="ADAL" clId="{6635BE88-E622-4209-B003-D5FF412B30B6}" dt="2022-10-10T10:20:14.025" v="1147" actId="2711"/>
          <ac:spMkLst>
            <pc:docMk/>
            <pc:sldMk cId="2781693379" sldId="344"/>
            <ac:spMk id="25" creationId="{768C05FE-6974-5F12-D0B9-6C5467EB8C39}"/>
          </ac:spMkLst>
        </pc:spChg>
        <pc:spChg chg="mod">
          <ac:chgData name="Quan Nguyen - Y17" userId="fcceac3d-5680-48d6-8dcd-178a9cd0e1b0" providerId="ADAL" clId="{6635BE88-E622-4209-B003-D5FF412B30B6}" dt="2022-10-10T10:20:14.025" v="1147" actId="2711"/>
          <ac:spMkLst>
            <pc:docMk/>
            <pc:sldMk cId="2781693379" sldId="344"/>
            <ac:spMk id="26" creationId="{E9214955-7FDA-6502-D9B4-D09B0ED7D0A1}"/>
          </ac:spMkLst>
        </pc:spChg>
        <pc:spChg chg="add del mod">
          <ac:chgData name="Quan Nguyen - Y17" userId="fcceac3d-5680-48d6-8dcd-178a9cd0e1b0" providerId="ADAL" clId="{6635BE88-E622-4209-B003-D5FF412B30B6}" dt="2022-10-10T09:52:40.583" v="509" actId="478"/>
          <ac:spMkLst>
            <pc:docMk/>
            <pc:sldMk cId="2781693379" sldId="344"/>
            <ac:spMk id="28" creationId="{CD3614FC-7C35-CCF6-C013-7A601A92523F}"/>
          </ac:spMkLst>
        </pc:spChg>
        <pc:spChg chg="mod">
          <ac:chgData name="Quan Nguyen - Y17" userId="fcceac3d-5680-48d6-8dcd-178a9cd0e1b0" providerId="ADAL" clId="{6635BE88-E622-4209-B003-D5FF412B30B6}" dt="2022-10-10T09:56:48.401" v="594" actId="14100"/>
          <ac:spMkLst>
            <pc:docMk/>
            <pc:sldMk cId="2781693379" sldId="344"/>
            <ac:spMk id="29" creationId="{893A806F-E82D-487D-9D2B-84B38184CC82}"/>
          </ac:spMkLst>
        </pc:spChg>
        <pc:spChg chg="add del">
          <ac:chgData name="Quan Nguyen - Y17" userId="fcceac3d-5680-48d6-8dcd-178a9cd0e1b0" providerId="ADAL" clId="{6635BE88-E622-4209-B003-D5FF412B30B6}" dt="2022-10-10T09:52:51.893" v="511" actId="22"/>
          <ac:spMkLst>
            <pc:docMk/>
            <pc:sldMk cId="2781693379" sldId="344"/>
            <ac:spMk id="31" creationId="{8957967D-EA98-785F-7D36-60109C7B3A37}"/>
          </ac:spMkLst>
        </pc:spChg>
        <pc:spChg chg="mod">
          <ac:chgData name="Quan Nguyen - Y17" userId="fcceac3d-5680-48d6-8dcd-178a9cd0e1b0" providerId="ADAL" clId="{6635BE88-E622-4209-B003-D5FF412B30B6}" dt="2022-10-10T10:20:14.025" v="1147" actId="2711"/>
          <ac:spMkLst>
            <pc:docMk/>
            <pc:sldMk cId="2781693379" sldId="344"/>
            <ac:spMk id="34" creationId="{C34A67EC-5067-494A-B71E-4BA9C1CA98FF}"/>
          </ac:spMkLst>
        </pc:spChg>
        <pc:spChg chg="mod">
          <ac:chgData name="Quan Nguyen - Y17" userId="fcceac3d-5680-48d6-8dcd-178a9cd0e1b0" providerId="ADAL" clId="{6635BE88-E622-4209-B003-D5FF412B30B6}" dt="2022-10-10T10:20:14.025" v="1147" actId="2711"/>
          <ac:spMkLst>
            <pc:docMk/>
            <pc:sldMk cId="2781693379" sldId="344"/>
            <ac:spMk id="35" creationId="{07E46DB2-8203-4EEB-9486-E9D877900276}"/>
          </ac:spMkLst>
        </pc:spChg>
        <pc:spChg chg="add del">
          <ac:chgData name="Quan Nguyen - Y17" userId="fcceac3d-5680-48d6-8dcd-178a9cd0e1b0" providerId="ADAL" clId="{6635BE88-E622-4209-B003-D5FF412B30B6}" dt="2022-10-10T09:53:09.078" v="514" actId="478"/>
          <ac:spMkLst>
            <pc:docMk/>
            <pc:sldMk cId="2781693379" sldId="344"/>
            <ac:spMk id="36" creationId="{148C40AC-C8DE-97DD-D079-739C6C1B5744}"/>
          </ac:spMkLst>
        </pc:spChg>
        <pc:spChg chg="mod">
          <ac:chgData name="Quan Nguyen - Y17" userId="fcceac3d-5680-48d6-8dcd-178a9cd0e1b0" providerId="ADAL" clId="{6635BE88-E622-4209-B003-D5FF412B30B6}" dt="2022-10-10T10:20:14.025" v="1147" actId="2711"/>
          <ac:spMkLst>
            <pc:docMk/>
            <pc:sldMk cId="2781693379" sldId="344"/>
            <ac:spMk id="38" creationId="{01A9A2A5-D0EB-4F60-A8F2-C12DE743E8A8}"/>
          </ac:spMkLst>
        </pc:spChg>
        <pc:spChg chg="mod">
          <ac:chgData name="Quan Nguyen - Y17" userId="fcceac3d-5680-48d6-8dcd-178a9cd0e1b0" providerId="ADAL" clId="{6635BE88-E622-4209-B003-D5FF412B30B6}" dt="2022-10-10T10:20:14.025" v="1147" actId="2711"/>
          <ac:spMkLst>
            <pc:docMk/>
            <pc:sldMk cId="2781693379" sldId="344"/>
            <ac:spMk id="39" creationId="{B309DB34-0EDD-4F3D-A2D1-DB0DF9A25982}"/>
          </ac:spMkLst>
        </pc:spChg>
        <pc:spChg chg="mod">
          <ac:chgData name="Quan Nguyen - Y17" userId="fcceac3d-5680-48d6-8dcd-178a9cd0e1b0" providerId="ADAL" clId="{6635BE88-E622-4209-B003-D5FF412B30B6}" dt="2022-10-10T10:20:14.025" v="1147" actId="2711"/>
          <ac:spMkLst>
            <pc:docMk/>
            <pc:sldMk cId="2781693379" sldId="344"/>
            <ac:spMk id="40" creationId="{64247D62-5F19-4481-AE75-DCAA35A2CEE7}"/>
          </ac:spMkLst>
        </pc:spChg>
        <pc:spChg chg="mod">
          <ac:chgData name="Quan Nguyen - Y17" userId="fcceac3d-5680-48d6-8dcd-178a9cd0e1b0" providerId="ADAL" clId="{6635BE88-E622-4209-B003-D5FF412B30B6}" dt="2022-10-10T10:20:14.025" v="1147" actId="2711"/>
          <ac:spMkLst>
            <pc:docMk/>
            <pc:sldMk cId="2781693379" sldId="344"/>
            <ac:spMk id="41" creationId="{7AF3D00D-65D2-422F-9E7C-A39D55335265}"/>
          </ac:spMkLst>
        </pc:spChg>
        <pc:grpChg chg="add mod">
          <ac:chgData name="Quan Nguyen - Y17" userId="fcceac3d-5680-48d6-8dcd-178a9cd0e1b0" providerId="ADAL" clId="{6635BE88-E622-4209-B003-D5FF412B30B6}" dt="2022-10-10T09:22:30.356" v="170"/>
          <ac:grpSpMkLst>
            <pc:docMk/>
            <pc:sldMk cId="2781693379" sldId="344"/>
            <ac:grpSpMk id="2" creationId="{A252C47A-FB17-63C4-DEEF-12B4F60D0B11}"/>
          </ac:grpSpMkLst>
        </pc:grpChg>
        <pc:grpChg chg="add mod">
          <ac:chgData name="Quan Nguyen - Y17" userId="fcceac3d-5680-48d6-8dcd-178a9cd0e1b0" providerId="ADAL" clId="{6635BE88-E622-4209-B003-D5FF412B30B6}" dt="2022-10-10T09:51:02.754" v="491" actId="164"/>
          <ac:grpSpMkLst>
            <pc:docMk/>
            <pc:sldMk cId="2781693379" sldId="344"/>
            <ac:grpSpMk id="7" creationId="{94C20AB2-EEC5-10ED-8C80-C2D2822D22C6}"/>
          </ac:grpSpMkLst>
        </pc:grpChg>
        <pc:grpChg chg="add del mod">
          <ac:chgData name="Quan Nguyen - Y17" userId="fcceac3d-5680-48d6-8dcd-178a9cd0e1b0" providerId="ADAL" clId="{6635BE88-E622-4209-B003-D5FF412B30B6}" dt="2022-10-10T09:52:33.547" v="507" actId="478"/>
          <ac:grpSpMkLst>
            <pc:docMk/>
            <pc:sldMk cId="2781693379" sldId="344"/>
            <ac:grpSpMk id="8" creationId="{4D45194B-D044-D34E-463D-DA343FB4B6E9}"/>
          </ac:grpSpMkLst>
        </pc:grpChg>
        <pc:grpChg chg="add mod">
          <ac:chgData name="Quan Nguyen - Y17" userId="fcceac3d-5680-48d6-8dcd-178a9cd0e1b0" providerId="ADAL" clId="{6635BE88-E622-4209-B003-D5FF412B30B6}" dt="2022-10-10T09:55:45.138" v="592" actId="164"/>
          <ac:grpSpMkLst>
            <pc:docMk/>
            <pc:sldMk cId="2781693379" sldId="344"/>
            <ac:grpSpMk id="14" creationId="{CC465378-7AA3-0A1C-EC81-2E22B1B6D13F}"/>
          </ac:grpSpMkLst>
        </pc:grpChg>
        <pc:grpChg chg="add mod">
          <ac:chgData name="Quan Nguyen - Y17" userId="fcceac3d-5680-48d6-8dcd-178a9cd0e1b0" providerId="ADAL" clId="{6635BE88-E622-4209-B003-D5FF412B30B6}" dt="2022-10-10T09:54:49.563" v="529" actId="1076"/>
          <ac:grpSpMkLst>
            <pc:docMk/>
            <pc:sldMk cId="2781693379" sldId="344"/>
            <ac:grpSpMk id="19" creationId="{6A6E6379-868C-2BBE-C5FA-1A7B481B2C63}"/>
          </ac:grpSpMkLst>
        </pc:grpChg>
        <pc:grpChg chg="add del mod">
          <ac:chgData name="Quan Nguyen - Y17" userId="fcceac3d-5680-48d6-8dcd-178a9cd0e1b0" providerId="ADAL" clId="{6635BE88-E622-4209-B003-D5FF412B30B6}" dt="2022-10-10T09:57:30.469" v="599" actId="478"/>
          <ac:grpSpMkLst>
            <pc:docMk/>
            <pc:sldMk cId="2781693379" sldId="344"/>
            <ac:grpSpMk id="21" creationId="{D9F8090C-491C-C0BD-0C89-7375142ADFD5}"/>
          </ac:grpSpMkLst>
        </pc:grpChg>
        <pc:grpChg chg="mod topLvl">
          <ac:chgData name="Quan Nguyen - Y17" userId="fcceac3d-5680-48d6-8dcd-178a9cd0e1b0" providerId="ADAL" clId="{6635BE88-E622-4209-B003-D5FF412B30B6}" dt="2022-10-10T09:57:43.130" v="601" actId="164"/>
          <ac:grpSpMkLst>
            <pc:docMk/>
            <pc:sldMk cId="2781693379" sldId="344"/>
            <ac:grpSpMk id="22" creationId="{E43B90B1-21F6-376E-330A-48EED0806766}"/>
          </ac:grpSpMkLst>
        </pc:grpChg>
        <pc:grpChg chg="add mod">
          <ac:chgData name="Quan Nguyen - Y17" userId="fcceac3d-5680-48d6-8dcd-178a9cd0e1b0" providerId="ADAL" clId="{6635BE88-E622-4209-B003-D5FF412B30B6}" dt="2022-10-10T09:55:45.138" v="592" actId="164"/>
          <ac:grpSpMkLst>
            <pc:docMk/>
            <pc:sldMk cId="2781693379" sldId="344"/>
            <ac:grpSpMk id="43" creationId="{0A7FA395-D520-AA45-784E-B19619E8DAFB}"/>
          </ac:grpSpMkLst>
        </pc:grpChg>
        <pc:grpChg chg="add mod">
          <ac:chgData name="Quan Nguyen - Y17" userId="fcceac3d-5680-48d6-8dcd-178a9cd0e1b0" providerId="ADAL" clId="{6635BE88-E622-4209-B003-D5FF412B30B6}" dt="2022-10-10T09:57:52.906" v="603" actId="12789"/>
          <ac:grpSpMkLst>
            <pc:docMk/>
            <pc:sldMk cId="2781693379" sldId="344"/>
            <ac:grpSpMk id="46" creationId="{AECA549B-1B87-E95C-0EB0-26B6B4639296}"/>
          </ac:grpSpMkLst>
        </pc:grpChg>
        <pc:picChg chg="mod">
          <ac:chgData name="Quan Nguyen - Y17" userId="fcceac3d-5680-48d6-8dcd-178a9cd0e1b0" providerId="ADAL" clId="{6635BE88-E622-4209-B003-D5FF412B30B6}" dt="2022-10-10T09:42:26.464" v="415"/>
          <ac:picMkLst>
            <pc:docMk/>
            <pc:sldMk cId="2781693379" sldId="344"/>
            <ac:picMk id="13" creationId="{C216A3DE-3761-85A3-900A-EC5A248F68B0}"/>
          </ac:picMkLst>
        </pc:picChg>
        <pc:picChg chg="add del mod">
          <ac:chgData name="Quan Nguyen - Y17" userId="fcceac3d-5680-48d6-8dcd-178a9cd0e1b0" providerId="ADAL" clId="{6635BE88-E622-4209-B003-D5FF412B30B6}" dt="2022-10-10T09:55:25.506" v="589" actId="478"/>
          <ac:picMkLst>
            <pc:docMk/>
            <pc:sldMk cId="2781693379" sldId="344"/>
            <ac:picMk id="16" creationId="{F6700446-0ABF-4516-76B1-59C57044A326}"/>
          </ac:picMkLst>
        </pc:picChg>
        <pc:picChg chg="add mod">
          <ac:chgData name="Quan Nguyen - Y17" userId="fcceac3d-5680-48d6-8dcd-178a9cd0e1b0" providerId="ADAL" clId="{6635BE88-E622-4209-B003-D5FF412B30B6}" dt="2022-10-10T09:51:45.689" v="500" actId="1076"/>
          <ac:picMkLst>
            <pc:docMk/>
            <pc:sldMk cId="2781693379" sldId="344"/>
            <ac:picMk id="18" creationId="{EFBECABE-7F4C-A75C-CCC1-D94CD665C311}"/>
          </ac:picMkLst>
        </pc:picChg>
        <pc:picChg chg="del mod topLvl">
          <ac:chgData name="Quan Nguyen - Y17" userId="fcceac3d-5680-48d6-8dcd-178a9cd0e1b0" providerId="ADAL" clId="{6635BE88-E622-4209-B003-D5FF412B30B6}" dt="2022-10-10T09:57:30.469" v="599" actId="478"/>
          <ac:picMkLst>
            <pc:docMk/>
            <pc:sldMk cId="2781693379" sldId="344"/>
            <ac:picMk id="23" creationId="{DC708054-C4F8-5565-F787-2C9338795AE0}"/>
          </ac:picMkLst>
        </pc:picChg>
        <pc:picChg chg="add mod">
          <ac:chgData name="Quan Nguyen - Y17" userId="fcceac3d-5680-48d6-8dcd-178a9cd0e1b0" providerId="ADAL" clId="{6635BE88-E622-4209-B003-D5FF412B30B6}" dt="2022-10-10T09:55:45.138" v="592" actId="164"/>
          <ac:picMkLst>
            <pc:docMk/>
            <pc:sldMk cId="2781693379" sldId="344"/>
            <ac:picMk id="42" creationId="{28E354C3-ABA8-132D-7F72-2B2BB9F3727B}"/>
          </ac:picMkLst>
        </pc:picChg>
        <pc:picChg chg="add mod">
          <ac:chgData name="Quan Nguyen - Y17" userId="fcceac3d-5680-48d6-8dcd-178a9cd0e1b0" providerId="ADAL" clId="{6635BE88-E622-4209-B003-D5FF412B30B6}" dt="2022-10-10T09:57:43.130" v="601" actId="164"/>
          <ac:picMkLst>
            <pc:docMk/>
            <pc:sldMk cId="2781693379" sldId="344"/>
            <ac:picMk id="45" creationId="{A5D9053A-429D-97F3-E2EE-118E3582A76D}"/>
          </ac:picMkLst>
        </pc:picChg>
        <pc:picChg chg="del">
          <ac:chgData name="Quan Nguyen - Y17" userId="fcceac3d-5680-48d6-8dcd-178a9cd0e1b0" providerId="ADAL" clId="{6635BE88-E622-4209-B003-D5FF412B30B6}" dt="2022-10-10T09:21:08.170" v="161" actId="478"/>
          <ac:picMkLst>
            <pc:docMk/>
            <pc:sldMk cId="2781693379" sldId="344"/>
            <ac:picMk id="47" creationId="{E10FD186-DC90-404B-ADE5-346A7C8F6A39}"/>
          </ac:picMkLst>
        </pc:picChg>
        <pc:picChg chg="del">
          <ac:chgData name="Quan Nguyen - Y17" userId="fcceac3d-5680-48d6-8dcd-178a9cd0e1b0" providerId="ADAL" clId="{6635BE88-E622-4209-B003-D5FF412B30B6}" dt="2022-10-10T09:21:07.668" v="160" actId="478"/>
          <ac:picMkLst>
            <pc:docMk/>
            <pc:sldMk cId="2781693379" sldId="344"/>
            <ac:picMk id="48" creationId="{FC62509C-F1CF-4667-8BE8-34F484F52610}"/>
          </ac:picMkLst>
        </pc:picChg>
        <pc:picChg chg="del mod">
          <ac:chgData name="Quan Nguyen - Y17" userId="fcceac3d-5680-48d6-8dcd-178a9cd0e1b0" providerId="ADAL" clId="{6635BE88-E622-4209-B003-D5FF412B30B6}" dt="2022-10-10T09:46:40.483" v="472" actId="478"/>
          <ac:picMkLst>
            <pc:docMk/>
            <pc:sldMk cId="2781693379" sldId="344"/>
            <ac:picMk id="52" creationId="{3937C80F-E5BE-4998-AC04-9080E51AC96F}"/>
          </ac:picMkLst>
        </pc:picChg>
        <pc:picChg chg="del mod">
          <ac:chgData name="Quan Nguyen - Y17" userId="fcceac3d-5680-48d6-8dcd-178a9cd0e1b0" providerId="ADAL" clId="{6635BE88-E622-4209-B003-D5FF412B30B6}" dt="2022-10-10T09:50:38.852" v="488" actId="478"/>
          <ac:picMkLst>
            <pc:docMk/>
            <pc:sldMk cId="2781693379" sldId="344"/>
            <ac:picMk id="54" creationId="{B75F4627-2215-4E62-BF90-B903A7F2C972}"/>
          </ac:picMkLst>
        </pc:picChg>
      </pc:sldChg>
      <pc:sldChg chg="addSp delSp modSp add mod modNotesTx">
        <pc:chgData name="Quan Nguyen - Y17" userId="fcceac3d-5680-48d6-8dcd-178a9cd0e1b0" providerId="ADAL" clId="{6635BE88-E622-4209-B003-D5FF412B30B6}" dt="2022-10-10T16:57:29.180" v="3341" actId="20577"/>
        <pc:sldMkLst>
          <pc:docMk/>
          <pc:sldMk cId="203627753" sldId="345"/>
        </pc:sldMkLst>
        <pc:spChg chg="mod">
          <ac:chgData name="Quan Nguyen - Y17" userId="fcceac3d-5680-48d6-8dcd-178a9cd0e1b0" providerId="ADAL" clId="{6635BE88-E622-4209-B003-D5FF412B30B6}" dt="2022-10-10T10:20:40.496" v="1150" actId="2711"/>
          <ac:spMkLst>
            <pc:docMk/>
            <pc:sldMk cId="203627753" sldId="345"/>
            <ac:spMk id="3" creationId="{97893D96-EBB8-6922-733A-6B22C189EFD9}"/>
          </ac:spMkLst>
        </pc:spChg>
        <pc:spChg chg="mod">
          <ac:chgData name="Quan Nguyen - Y17" userId="fcceac3d-5680-48d6-8dcd-178a9cd0e1b0" providerId="ADAL" clId="{6635BE88-E622-4209-B003-D5FF412B30B6}" dt="2022-10-10T10:20:40.496" v="1150" actId="2711"/>
          <ac:spMkLst>
            <pc:docMk/>
            <pc:sldMk cId="203627753" sldId="345"/>
            <ac:spMk id="4" creationId="{B2ECB9D7-9845-DF30-0167-9D75C886B487}"/>
          </ac:spMkLst>
        </pc:spChg>
        <pc:spChg chg="del">
          <ac:chgData name="Quan Nguyen - Y17" userId="fcceac3d-5680-48d6-8dcd-178a9cd0e1b0" providerId="ADAL" clId="{6635BE88-E622-4209-B003-D5FF412B30B6}" dt="2022-10-10T09:58:58.416" v="605" actId="478"/>
          <ac:spMkLst>
            <pc:docMk/>
            <pc:sldMk cId="203627753" sldId="345"/>
            <ac:spMk id="5" creationId="{B07C2C8F-AB3C-66A3-B383-DC7E4A8E976D}"/>
          </ac:spMkLst>
        </pc:spChg>
        <pc:spChg chg="add mod">
          <ac:chgData name="Quan Nguyen - Y17" userId="fcceac3d-5680-48d6-8dcd-178a9cd0e1b0" providerId="ADAL" clId="{6635BE88-E622-4209-B003-D5FF412B30B6}" dt="2022-10-10T12:19:16.147" v="2916" actId="1076"/>
          <ac:spMkLst>
            <pc:docMk/>
            <pc:sldMk cId="203627753" sldId="345"/>
            <ac:spMk id="8" creationId="{FAE7019D-DF7D-BD8D-8724-BE12E2D90A46}"/>
          </ac:spMkLst>
        </pc:spChg>
        <pc:spChg chg="mod">
          <ac:chgData name="Quan Nguyen - Y17" userId="fcceac3d-5680-48d6-8dcd-178a9cd0e1b0" providerId="ADAL" clId="{6635BE88-E622-4209-B003-D5FF412B30B6}" dt="2022-10-10T09:59:08.444" v="609" actId="14100"/>
          <ac:spMkLst>
            <pc:docMk/>
            <pc:sldMk cId="203627753" sldId="345"/>
            <ac:spMk id="29" creationId="{893A806F-E82D-487D-9D2B-84B38184CC82}"/>
          </ac:spMkLst>
        </pc:spChg>
        <pc:grpChg chg="del">
          <ac:chgData name="Quan Nguyen - Y17" userId="fcceac3d-5680-48d6-8dcd-178a9cd0e1b0" providerId="ADAL" clId="{6635BE88-E622-4209-B003-D5FF412B30B6}" dt="2022-10-10T12:19:13.571" v="2915" actId="478"/>
          <ac:grpSpMkLst>
            <pc:docMk/>
            <pc:sldMk cId="203627753" sldId="345"/>
            <ac:grpSpMk id="2" creationId="{A252C47A-FB17-63C4-DEEF-12B4F60D0B11}"/>
          </ac:grpSpMkLst>
        </pc:grpChg>
        <pc:grpChg chg="del">
          <ac:chgData name="Quan Nguyen - Y17" userId="fcceac3d-5680-48d6-8dcd-178a9cd0e1b0" providerId="ADAL" clId="{6635BE88-E622-4209-B003-D5FF412B30B6}" dt="2022-10-10T09:59:00.188" v="606" actId="478"/>
          <ac:grpSpMkLst>
            <pc:docMk/>
            <pc:sldMk cId="203627753" sldId="345"/>
            <ac:grpSpMk id="19" creationId="{6A6E6379-868C-2BBE-C5FA-1A7B481B2C63}"/>
          </ac:grpSpMkLst>
        </pc:grpChg>
        <pc:grpChg chg="del">
          <ac:chgData name="Quan Nguyen - Y17" userId="fcceac3d-5680-48d6-8dcd-178a9cd0e1b0" providerId="ADAL" clId="{6635BE88-E622-4209-B003-D5FF412B30B6}" dt="2022-10-10T09:58:58.416" v="605" actId="478"/>
          <ac:grpSpMkLst>
            <pc:docMk/>
            <pc:sldMk cId="203627753" sldId="345"/>
            <ac:grpSpMk id="43" creationId="{0A7FA395-D520-AA45-784E-B19619E8DAFB}"/>
          </ac:grpSpMkLst>
        </pc:grpChg>
        <pc:grpChg chg="del">
          <ac:chgData name="Quan Nguyen - Y17" userId="fcceac3d-5680-48d6-8dcd-178a9cd0e1b0" providerId="ADAL" clId="{6635BE88-E622-4209-B003-D5FF412B30B6}" dt="2022-10-10T09:59:01.723" v="607" actId="478"/>
          <ac:grpSpMkLst>
            <pc:docMk/>
            <pc:sldMk cId="203627753" sldId="345"/>
            <ac:grpSpMk id="46" creationId="{AECA549B-1B87-E95C-0EB0-26B6B4639296}"/>
          </ac:grpSpMkLst>
        </pc:grpChg>
        <pc:picChg chg="add mod">
          <ac:chgData name="Quan Nguyen - Y17" userId="fcceac3d-5680-48d6-8dcd-178a9cd0e1b0" providerId="ADAL" clId="{6635BE88-E622-4209-B003-D5FF412B30B6}" dt="2022-10-10T09:59:22.555" v="611" actId="1076"/>
          <ac:picMkLst>
            <pc:docMk/>
            <pc:sldMk cId="203627753" sldId="345"/>
            <ac:picMk id="9" creationId="{C8A5490D-AB7E-26B6-D50C-3764EECA6607}"/>
          </ac:picMkLst>
        </pc:picChg>
      </pc:sldChg>
      <pc:sldChg chg="addSp delSp modSp add mod modNotesTx">
        <pc:chgData name="Quan Nguyen - Y17" userId="fcceac3d-5680-48d6-8dcd-178a9cd0e1b0" providerId="ADAL" clId="{6635BE88-E622-4209-B003-D5FF412B30B6}" dt="2022-10-10T10:21:11.407" v="1152" actId="20577"/>
        <pc:sldMkLst>
          <pc:docMk/>
          <pc:sldMk cId="2666656692" sldId="346"/>
        </pc:sldMkLst>
        <pc:spChg chg="mod">
          <ac:chgData name="Quan Nguyen - Y17" userId="fcceac3d-5680-48d6-8dcd-178a9cd0e1b0" providerId="ADAL" clId="{6635BE88-E622-4209-B003-D5FF412B30B6}" dt="2022-10-10T10:21:06.511" v="1151" actId="2711"/>
          <ac:spMkLst>
            <pc:docMk/>
            <pc:sldMk cId="2666656692" sldId="346"/>
            <ac:spMk id="7" creationId="{9065F0BC-0A5E-4161-BF7D-AC055EABC39D}"/>
          </ac:spMkLst>
        </pc:spChg>
        <pc:spChg chg="mod">
          <ac:chgData name="Quan Nguyen - Y17" userId="fcceac3d-5680-48d6-8dcd-178a9cd0e1b0" providerId="ADAL" clId="{6635BE88-E622-4209-B003-D5FF412B30B6}" dt="2022-10-10T10:03:57.962" v="920" actId="1076"/>
          <ac:spMkLst>
            <pc:docMk/>
            <pc:sldMk cId="2666656692" sldId="346"/>
            <ac:spMk id="50" creationId="{658CCB48-EFFD-42D9-BF6A-280EA5D8DA0F}"/>
          </ac:spMkLst>
        </pc:spChg>
        <pc:spChg chg="mod">
          <ac:chgData name="Quan Nguyen - Y17" userId="fcceac3d-5680-48d6-8dcd-178a9cd0e1b0" providerId="ADAL" clId="{6635BE88-E622-4209-B003-D5FF412B30B6}" dt="2022-10-10T10:21:06.511" v="1151" actId="2711"/>
          <ac:spMkLst>
            <pc:docMk/>
            <pc:sldMk cId="2666656692" sldId="346"/>
            <ac:spMk id="51" creationId="{7DF1AB91-8AE7-412A-8A3F-8BF9CF07638E}"/>
          </ac:spMkLst>
        </pc:spChg>
        <pc:spChg chg="mod">
          <ac:chgData name="Quan Nguyen - Y17" userId="fcceac3d-5680-48d6-8dcd-178a9cd0e1b0" providerId="ADAL" clId="{6635BE88-E622-4209-B003-D5FF412B30B6}" dt="2022-10-10T10:21:06.511" v="1151" actId="2711"/>
          <ac:spMkLst>
            <pc:docMk/>
            <pc:sldMk cId="2666656692" sldId="346"/>
            <ac:spMk id="70" creationId="{59C3BCDD-8DB4-44E3-9ABE-0B8A33955C4E}"/>
          </ac:spMkLst>
        </pc:spChg>
        <pc:spChg chg="mod">
          <ac:chgData name="Quan Nguyen - Y17" userId="fcceac3d-5680-48d6-8dcd-178a9cd0e1b0" providerId="ADAL" clId="{6635BE88-E622-4209-B003-D5FF412B30B6}" dt="2022-10-10T10:21:06.511" v="1151" actId="2711"/>
          <ac:spMkLst>
            <pc:docMk/>
            <pc:sldMk cId="2666656692" sldId="346"/>
            <ac:spMk id="71" creationId="{D308D527-A254-45FE-8589-A0C5C39ECD62}"/>
          </ac:spMkLst>
        </pc:spChg>
        <pc:spChg chg="add del mod">
          <ac:chgData name="Quan Nguyen - Y17" userId="fcceac3d-5680-48d6-8dcd-178a9cd0e1b0" providerId="ADAL" clId="{6635BE88-E622-4209-B003-D5FF412B30B6}" dt="2022-10-10T10:21:06.511" v="1151" actId="2711"/>
          <ac:spMkLst>
            <pc:docMk/>
            <pc:sldMk cId="2666656692" sldId="346"/>
            <ac:spMk id="72" creationId="{452D9CC6-5EFC-400C-BA97-68B79F1FAB85}"/>
          </ac:spMkLst>
        </pc:spChg>
        <pc:spChg chg="mod">
          <ac:chgData name="Quan Nguyen - Y17" userId="fcceac3d-5680-48d6-8dcd-178a9cd0e1b0" providerId="ADAL" clId="{6635BE88-E622-4209-B003-D5FF412B30B6}" dt="2022-10-10T10:21:06.511" v="1151" actId="2711"/>
          <ac:spMkLst>
            <pc:docMk/>
            <pc:sldMk cId="2666656692" sldId="346"/>
            <ac:spMk id="74" creationId="{5534F332-C2D2-4FCA-BCF9-C83B6780EAF1}"/>
          </ac:spMkLst>
        </pc:spChg>
        <pc:spChg chg="mod">
          <ac:chgData name="Quan Nguyen - Y17" userId="fcceac3d-5680-48d6-8dcd-178a9cd0e1b0" providerId="ADAL" clId="{6635BE88-E622-4209-B003-D5FF412B30B6}" dt="2022-10-10T10:21:06.511" v="1151" actId="2711"/>
          <ac:spMkLst>
            <pc:docMk/>
            <pc:sldMk cId="2666656692" sldId="346"/>
            <ac:spMk id="75" creationId="{44A2DE13-B985-4380-98F2-2AC474F46D60}"/>
          </ac:spMkLst>
        </pc:spChg>
        <pc:spChg chg="mod">
          <ac:chgData name="Quan Nguyen - Y17" userId="fcceac3d-5680-48d6-8dcd-178a9cd0e1b0" providerId="ADAL" clId="{6635BE88-E622-4209-B003-D5FF412B30B6}" dt="2022-10-10T10:21:06.511" v="1151" actId="2711"/>
          <ac:spMkLst>
            <pc:docMk/>
            <pc:sldMk cId="2666656692" sldId="346"/>
            <ac:spMk id="76" creationId="{EEC283E2-BCD1-4368-97B8-BBEDC8AD12AA}"/>
          </ac:spMkLst>
        </pc:spChg>
        <pc:spChg chg="mod">
          <ac:chgData name="Quan Nguyen - Y17" userId="fcceac3d-5680-48d6-8dcd-178a9cd0e1b0" providerId="ADAL" clId="{6635BE88-E622-4209-B003-D5FF412B30B6}" dt="2022-10-10T10:21:11.407" v="1152" actId="20577"/>
          <ac:spMkLst>
            <pc:docMk/>
            <pc:sldMk cId="2666656692" sldId="346"/>
            <ac:spMk id="79" creationId="{471A3722-4FBE-4D1C-9445-CDAECF4BE9D0}"/>
          </ac:spMkLst>
        </pc:spChg>
        <pc:spChg chg="mod">
          <ac:chgData name="Quan Nguyen - Y17" userId="fcceac3d-5680-48d6-8dcd-178a9cd0e1b0" providerId="ADAL" clId="{6635BE88-E622-4209-B003-D5FF412B30B6}" dt="2022-10-10T10:21:06.511" v="1151" actId="2711"/>
          <ac:spMkLst>
            <pc:docMk/>
            <pc:sldMk cId="2666656692" sldId="346"/>
            <ac:spMk id="80" creationId="{8E7093F7-547A-4B06-9E04-6378C6F40B84}"/>
          </ac:spMkLst>
        </pc:spChg>
        <pc:spChg chg="mod">
          <ac:chgData name="Quan Nguyen - Y17" userId="fcceac3d-5680-48d6-8dcd-178a9cd0e1b0" providerId="ADAL" clId="{6635BE88-E622-4209-B003-D5FF412B30B6}" dt="2022-10-10T10:21:06.511" v="1151" actId="2711"/>
          <ac:spMkLst>
            <pc:docMk/>
            <pc:sldMk cId="2666656692" sldId="346"/>
            <ac:spMk id="81" creationId="{040352BE-9EA9-4928-9BB8-12A18C43B855}"/>
          </ac:spMkLst>
        </pc:spChg>
        <pc:spChg chg="mod">
          <ac:chgData name="Quan Nguyen - Y17" userId="fcceac3d-5680-48d6-8dcd-178a9cd0e1b0" providerId="ADAL" clId="{6635BE88-E622-4209-B003-D5FF412B30B6}" dt="2022-10-10T10:21:06.511" v="1151" actId="2711"/>
          <ac:spMkLst>
            <pc:docMk/>
            <pc:sldMk cId="2666656692" sldId="346"/>
            <ac:spMk id="82" creationId="{C6B58C95-642B-4A6B-9665-BF2F065EA4F4}"/>
          </ac:spMkLst>
        </pc:spChg>
        <pc:spChg chg="mod">
          <ac:chgData name="Quan Nguyen - Y17" userId="fcceac3d-5680-48d6-8dcd-178a9cd0e1b0" providerId="ADAL" clId="{6635BE88-E622-4209-B003-D5FF412B30B6}" dt="2022-10-10T10:21:06.511" v="1151" actId="2711"/>
          <ac:spMkLst>
            <pc:docMk/>
            <pc:sldMk cId="2666656692" sldId="346"/>
            <ac:spMk id="83" creationId="{28849551-1E20-4DF5-A99D-68D4B87801C0}"/>
          </ac:spMkLst>
        </pc:spChg>
        <pc:spChg chg="del">
          <ac:chgData name="Quan Nguyen - Y17" userId="fcceac3d-5680-48d6-8dcd-178a9cd0e1b0" providerId="ADAL" clId="{6635BE88-E622-4209-B003-D5FF412B30B6}" dt="2022-10-10T10:02:26.484" v="693" actId="478"/>
          <ac:spMkLst>
            <pc:docMk/>
            <pc:sldMk cId="2666656692" sldId="346"/>
            <ac:spMk id="91" creationId="{77063E77-D4F1-4D78-AC1B-28006DF1DC3A}"/>
          </ac:spMkLst>
        </pc:spChg>
        <pc:grpChg chg="del">
          <ac:chgData name="Quan Nguyen - Y17" userId="fcceac3d-5680-48d6-8dcd-178a9cd0e1b0" providerId="ADAL" clId="{6635BE88-E622-4209-B003-D5FF412B30B6}" dt="2022-10-10T10:02:07.772" v="692" actId="478"/>
          <ac:grpSpMkLst>
            <pc:docMk/>
            <pc:sldMk cId="2666656692" sldId="346"/>
            <ac:grpSpMk id="29" creationId="{283B0C81-685A-4E8A-95AD-C4F5F99E4312}"/>
          </ac:grpSpMkLst>
        </pc:grpChg>
        <pc:grpChg chg="del">
          <ac:chgData name="Quan Nguyen - Y17" userId="fcceac3d-5680-48d6-8dcd-178a9cd0e1b0" providerId="ADAL" clId="{6635BE88-E622-4209-B003-D5FF412B30B6}" dt="2022-10-10T10:02:33.355" v="698" actId="478"/>
          <ac:grpSpMkLst>
            <pc:docMk/>
            <pc:sldMk cId="2666656692" sldId="346"/>
            <ac:grpSpMk id="99" creationId="{C7E03998-2646-4794-BF88-9C945E3AD241}"/>
          </ac:grpSpMkLst>
        </pc:grpChg>
        <pc:grpChg chg="del">
          <ac:chgData name="Quan Nguyen - Y17" userId="fcceac3d-5680-48d6-8dcd-178a9cd0e1b0" providerId="ADAL" clId="{6635BE88-E622-4209-B003-D5FF412B30B6}" dt="2022-10-10T10:02:28.436" v="695" actId="478"/>
          <ac:grpSpMkLst>
            <pc:docMk/>
            <pc:sldMk cId="2666656692" sldId="346"/>
            <ac:grpSpMk id="108" creationId="{CC048211-E2A1-4BB0-9608-CB00F31BFCFD}"/>
          </ac:grpSpMkLst>
        </pc:grpChg>
        <pc:grpChg chg="del">
          <ac:chgData name="Quan Nguyen - Y17" userId="fcceac3d-5680-48d6-8dcd-178a9cd0e1b0" providerId="ADAL" clId="{6635BE88-E622-4209-B003-D5FF412B30B6}" dt="2022-10-10T10:02:27.639" v="694" actId="478"/>
          <ac:grpSpMkLst>
            <pc:docMk/>
            <pc:sldMk cId="2666656692" sldId="346"/>
            <ac:grpSpMk id="115" creationId="{6292E6CF-0991-4E47-AA76-B998471632E9}"/>
          </ac:grpSpMkLst>
        </pc:grpChg>
        <pc:picChg chg="del">
          <ac:chgData name="Quan Nguyen - Y17" userId="fcceac3d-5680-48d6-8dcd-178a9cd0e1b0" providerId="ADAL" clId="{6635BE88-E622-4209-B003-D5FF412B30B6}" dt="2022-10-10T10:02:06.046" v="691" actId="478"/>
          <ac:picMkLst>
            <pc:docMk/>
            <pc:sldMk cId="2666656692" sldId="346"/>
            <ac:picMk id="2" creationId="{2F075A3F-5678-49DB-BE9F-546075E3FA1B}"/>
          </ac:picMkLst>
        </pc:picChg>
      </pc:sldChg>
      <pc:sldChg chg="addSp delSp modSp add mod modNotesTx">
        <pc:chgData name="Quan Nguyen - Y17" userId="fcceac3d-5680-48d6-8dcd-178a9cd0e1b0" providerId="ADAL" clId="{6635BE88-E622-4209-B003-D5FF412B30B6}" dt="2022-10-10T17:05:29.480" v="4276" actId="20577"/>
        <pc:sldMkLst>
          <pc:docMk/>
          <pc:sldMk cId="2936666105" sldId="347"/>
        </pc:sldMkLst>
        <pc:spChg chg="add mod">
          <ac:chgData name="Quan Nguyen - Y17" userId="fcceac3d-5680-48d6-8dcd-178a9cd0e1b0" providerId="ADAL" clId="{6635BE88-E622-4209-B003-D5FF412B30B6}" dt="2022-10-10T16:29:48.904" v="3244" actId="1076"/>
          <ac:spMkLst>
            <pc:docMk/>
            <pc:sldMk cId="2936666105" sldId="347"/>
            <ac:spMk id="2" creationId="{511BE542-45C3-ED1F-247C-ABA6C10188DC}"/>
          </ac:spMkLst>
        </pc:spChg>
        <pc:spChg chg="add mod">
          <ac:chgData name="Quan Nguyen - Y17" userId="fcceac3d-5680-48d6-8dcd-178a9cd0e1b0" providerId="ADAL" clId="{6635BE88-E622-4209-B003-D5FF412B30B6}" dt="2022-10-10T17:05:29.480" v="4276" actId="20577"/>
          <ac:spMkLst>
            <pc:docMk/>
            <pc:sldMk cId="2936666105" sldId="347"/>
            <ac:spMk id="3" creationId="{79896686-6D10-CBCA-309A-EA81848096E9}"/>
          </ac:spMkLst>
        </pc:spChg>
        <pc:spChg chg="add mod">
          <ac:chgData name="Quan Nguyen - Y17" userId="fcceac3d-5680-48d6-8dcd-178a9cd0e1b0" providerId="ADAL" clId="{6635BE88-E622-4209-B003-D5FF412B30B6}" dt="2022-10-10T16:29:48.904" v="3244" actId="1076"/>
          <ac:spMkLst>
            <pc:docMk/>
            <pc:sldMk cId="2936666105" sldId="347"/>
            <ac:spMk id="6" creationId="{98285D80-534E-8E64-D366-C1AF39558F24}"/>
          </ac:spMkLst>
        </pc:spChg>
        <pc:spChg chg="add del mod">
          <ac:chgData name="Quan Nguyen - Y17" userId="fcceac3d-5680-48d6-8dcd-178a9cd0e1b0" providerId="ADAL" clId="{6635BE88-E622-4209-B003-D5FF412B30B6}" dt="2022-10-10T16:28:59.479" v="3232" actId="478"/>
          <ac:spMkLst>
            <pc:docMk/>
            <pc:sldMk cId="2936666105" sldId="347"/>
            <ac:spMk id="7" creationId="{3E3F6374-D4E8-12EE-A579-DE68338456B7}"/>
          </ac:spMkLst>
        </pc:spChg>
        <pc:spChg chg="add mod">
          <ac:chgData name="Quan Nguyen - Y17" userId="fcceac3d-5680-48d6-8dcd-178a9cd0e1b0" providerId="ADAL" clId="{6635BE88-E622-4209-B003-D5FF412B30B6}" dt="2022-10-10T16:32:10.776" v="3260" actId="1076"/>
          <ac:spMkLst>
            <pc:docMk/>
            <pc:sldMk cId="2936666105" sldId="347"/>
            <ac:spMk id="9" creationId="{0E18B173-4F84-7214-2E58-3CD242E5F727}"/>
          </ac:spMkLst>
        </pc:spChg>
        <pc:spChg chg="mod">
          <ac:chgData name="Quan Nguyen - Y17" userId="fcceac3d-5680-48d6-8dcd-178a9cd0e1b0" providerId="ADAL" clId="{6635BE88-E622-4209-B003-D5FF412B30B6}" dt="2022-10-10T10:21:24.089" v="1153" actId="2711"/>
          <ac:spMkLst>
            <pc:docMk/>
            <pc:sldMk cId="2936666105" sldId="347"/>
            <ac:spMk id="13" creationId="{1BDC47C5-632E-4F29-B869-B455C3444DF4}"/>
          </ac:spMkLst>
        </pc:spChg>
        <pc:spChg chg="mod">
          <ac:chgData name="Quan Nguyen - Y17" userId="fcceac3d-5680-48d6-8dcd-178a9cd0e1b0" providerId="ADAL" clId="{6635BE88-E622-4209-B003-D5FF412B30B6}" dt="2022-10-10T10:21:24.089" v="1153" actId="2711"/>
          <ac:spMkLst>
            <pc:docMk/>
            <pc:sldMk cId="2936666105" sldId="347"/>
            <ac:spMk id="14" creationId="{75D937E8-ACE5-44B9-8289-4EA6EFF979B0}"/>
          </ac:spMkLst>
        </pc:spChg>
        <pc:spChg chg="mod">
          <ac:chgData name="Quan Nguyen - Y17" userId="fcceac3d-5680-48d6-8dcd-178a9cd0e1b0" providerId="ADAL" clId="{6635BE88-E622-4209-B003-D5FF412B30B6}" dt="2022-10-10T10:21:24.089" v="1153" actId="2711"/>
          <ac:spMkLst>
            <pc:docMk/>
            <pc:sldMk cId="2936666105" sldId="347"/>
            <ac:spMk id="183" creationId="{9BD9D4C9-303D-41A4-A402-99D2D79FA1F4}"/>
          </ac:spMkLst>
        </pc:spChg>
        <pc:spChg chg="mod">
          <ac:chgData name="Quan Nguyen - Y17" userId="fcceac3d-5680-48d6-8dcd-178a9cd0e1b0" providerId="ADAL" clId="{6635BE88-E622-4209-B003-D5FF412B30B6}" dt="2022-10-10T10:21:24.089" v="1153" actId="2711"/>
          <ac:spMkLst>
            <pc:docMk/>
            <pc:sldMk cId="2936666105" sldId="347"/>
            <ac:spMk id="184" creationId="{FF35A2C7-7F7E-49E8-91F3-9D5BBBDCA451}"/>
          </ac:spMkLst>
        </pc:spChg>
        <pc:grpChg chg="mod">
          <ac:chgData name="Quan Nguyen - Y17" userId="fcceac3d-5680-48d6-8dcd-178a9cd0e1b0" providerId="ADAL" clId="{6635BE88-E622-4209-B003-D5FF412B30B6}" dt="2022-10-10T10:09:50.490" v="1107" actId="1076"/>
          <ac:grpSpMkLst>
            <pc:docMk/>
            <pc:sldMk cId="2936666105" sldId="347"/>
            <ac:grpSpMk id="185" creationId="{8ED9B3ED-7120-4603-8CCD-E00D81660B0D}"/>
          </ac:grpSpMkLst>
        </pc:grpChg>
        <pc:picChg chg="add del mod">
          <ac:chgData name="Quan Nguyen - Y17" userId="fcceac3d-5680-48d6-8dcd-178a9cd0e1b0" providerId="ADAL" clId="{6635BE88-E622-4209-B003-D5FF412B30B6}" dt="2022-10-10T16:30:41.293" v="3246" actId="478"/>
          <ac:picMkLst>
            <pc:docMk/>
            <pc:sldMk cId="2936666105" sldId="347"/>
            <ac:picMk id="2050" creationId="{14F6D30C-AE1C-8C95-6C7C-25BEE892E275}"/>
          </ac:picMkLst>
        </pc:picChg>
        <pc:picChg chg="add mod">
          <ac:chgData name="Quan Nguyen - Y17" userId="fcceac3d-5680-48d6-8dcd-178a9cd0e1b0" providerId="ADAL" clId="{6635BE88-E622-4209-B003-D5FF412B30B6}" dt="2022-10-10T16:30:47.863" v="3250" actId="1076"/>
          <ac:picMkLst>
            <pc:docMk/>
            <pc:sldMk cId="2936666105" sldId="347"/>
            <ac:picMk id="2052" creationId="{3FB03A34-81C4-5368-DA40-C88FEF463A9A}"/>
          </ac:picMkLst>
        </pc:picChg>
        <pc:picChg chg="add mod">
          <ac:chgData name="Quan Nguyen - Y17" userId="fcceac3d-5680-48d6-8dcd-178a9cd0e1b0" providerId="ADAL" clId="{6635BE88-E622-4209-B003-D5FF412B30B6}" dt="2022-10-10T16:31:33.335" v="3256" actId="14100"/>
          <ac:picMkLst>
            <pc:docMk/>
            <pc:sldMk cId="2936666105" sldId="347"/>
            <ac:picMk id="2054" creationId="{DBCEF81B-593F-40EA-C1EC-7FA5BFE0D1D4}"/>
          </ac:picMkLst>
        </pc:picChg>
        <pc:cxnChg chg="add mod">
          <ac:chgData name="Quan Nguyen - Y17" userId="fcceac3d-5680-48d6-8dcd-178a9cd0e1b0" providerId="ADAL" clId="{6635BE88-E622-4209-B003-D5FF412B30B6}" dt="2022-10-10T16:29:48.904" v="3244" actId="1076"/>
          <ac:cxnSpMkLst>
            <pc:docMk/>
            <pc:sldMk cId="2936666105" sldId="347"/>
            <ac:cxnSpMk id="5" creationId="{256AFCB4-7AAE-3B49-8EE8-404C4D1ADBE9}"/>
          </ac:cxnSpMkLst>
        </pc:cxnChg>
        <pc:cxnChg chg="mod">
          <ac:chgData name="Quan Nguyen - Y17" userId="fcceac3d-5680-48d6-8dcd-178a9cd0e1b0" providerId="ADAL" clId="{6635BE88-E622-4209-B003-D5FF412B30B6}" dt="2022-10-10T10:08:42.450" v="1092" actId="1076"/>
          <ac:cxnSpMkLst>
            <pc:docMk/>
            <pc:sldMk cId="2936666105" sldId="347"/>
            <ac:cxnSpMk id="100" creationId="{C37D7D94-A4F8-436E-A575-EF167AFBCF7C}"/>
          </ac:cxnSpMkLst>
        </pc:cxnChg>
      </pc:sldChg>
      <pc:sldChg chg="addSp modSp add mod modNotesTx">
        <pc:chgData name="Quan Nguyen - Y17" userId="fcceac3d-5680-48d6-8dcd-178a9cd0e1b0" providerId="ADAL" clId="{6635BE88-E622-4209-B003-D5FF412B30B6}" dt="2022-10-10T11:44:56.805" v="2401" actId="1037"/>
        <pc:sldMkLst>
          <pc:docMk/>
          <pc:sldMk cId="2901459166" sldId="348"/>
        </pc:sldMkLst>
        <pc:spChg chg="add mod">
          <ac:chgData name="Quan Nguyen - Y17" userId="fcceac3d-5680-48d6-8dcd-178a9cd0e1b0" providerId="ADAL" clId="{6635BE88-E622-4209-B003-D5FF412B30B6}" dt="2022-10-10T10:37:32.930" v="1275" actId="1076"/>
          <ac:spMkLst>
            <pc:docMk/>
            <pc:sldMk cId="2901459166" sldId="348"/>
            <ac:spMk id="2" creationId="{45BE9921-35AA-4150-BFB4-D62331CEB36D}"/>
          </ac:spMkLst>
        </pc:spChg>
        <pc:spChg chg="mod">
          <ac:chgData name="Quan Nguyen - Y17" userId="fcceac3d-5680-48d6-8dcd-178a9cd0e1b0" providerId="ADAL" clId="{6635BE88-E622-4209-B003-D5FF412B30B6}" dt="2022-10-10T10:22:02.850" v="1154" actId="2711"/>
          <ac:spMkLst>
            <pc:docMk/>
            <pc:sldMk cId="2901459166" sldId="348"/>
            <ac:spMk id="4" creationId="{36E51D40-4A0E-04D5-148A-C0E808756FC2}"/>
          </ac:spMkLst>
        </pc:spChg>
        <pc:spChg chg="mod">
          <ac:chgData name="Quan Nguyen - Y17" userId="fcceac3d-5680-48d6-8dcd-178a9cd0e1b0" providerId="ADAL" clId="{6635BE88-E622-4209-B003-D5FF412B30B6}" dt="2022-10-10T10:22:02.850" v="1154" actId="2711"/>
          <ac:spMkLst>
            <pc:docMk/>
            <pc:sldMk cId="2901459166" sldId="348"/>
            <ac:spMk id="5" creationId="{E6062B8E-CA01-04EB-6DE3-7556797C886F}"/>
          </ac:spMkLst>
        </pc:spChg>
        <pc:spChg chg="add mod">
          <ac:chgData name="Quan Nguyen - Y17" userId="fcceac3d-5680-48d6-8dcd-178a9cd0e1b0" providerId="ADAL" clId="{6635BE88-E622-4209-B003-D5FF412B30B6}" dt="2022-10-10T10:27:08.891" v="1209" actId="1076"/>
          <ac:spMkLst>
            <pc:docMk/>
            <pc:sldMk cId="2901459166" sldId="348"/>
            <ac:spMk id="9" creationId="{C86A788E-1D01-D708-00A4-3B9CC9FE40AD}"/>
          </ac:spMkLst>
        </pc:spChg>
        <pc:spChg chg="add mod">
          <ac:chgData name="Quan Nguyen - Y17" userId="fcceac3d-5680-48d6-8dcd-178a9cd0e1b0" providerId="ADAL" clId="{6635BE88-E622-4209-B003-D5FF412B30B6}" dt="2022-10-10T11:44:56.805" v="2401" actId="1037"/>
          <ac:spMkLst>
            <pc:docMk/>
            <pc:sldMk cId="2901459166" sldId="348"/>
            <ac:spMk id="10" creationId="{1062A534-682F-8362-919D-980C2BF54235}"/>
          </ac:spMkLst>
        </pc:spChg>
        <pc:spChg chg="mod">
          <ac:chgData name="Quan Nguyen - Y17" userId="fcceac3d-5680-48d6-8dcd-178a9cd0e1b0" providerId="ADAL" clId="{6635BE88-E622-4209-B003-D5FF412B30B6}" dt="2022-10-10T10:22:02.850" v="1154" actId="2711"/>
          <ac:spMkLst>
            <pc:docMk/>
            <pc:sldMk cId="2901459166" sldId="348"/>
            <ac:spMk id="20" creationId="{AB16553A-CF11-49FB-ADD4-064B47EAACA3}"/>
          </ac:spMkLst>
        </pc:spChg>
        <pc:spChg chg="mod">
          <ac:chgData name="Quan Nguyen - Y17" userId="fcceac3d-5680-48d6-8dcd-178a9cd0e1b0" providerId="ADAL" clId="{6635BE88-E622-4209-B003-D5FF412B30B6}" dt="2022-10-10T10:22:02.850" v="1154" actId="2711"/>
          <ac:spMkLst>
            <pc:docMk/>
            <pc:sldMk cId="2901459166" sldId="348"/>
            <ac:spMk id="148" creationId="{7AA87DAD-C80B-4B71-B463-E06118E1AF91}"/>
          </ac:spMkLst>
        </pc:spChg>
        <pc:grpChg chg="add mod">
          <ac:chgData name="Quan Nguyen - Y17" userId="fcceac3d-5680-48d6-8dcd-178a9cd0e1b0" providerId="ADAL" clId="{6635BE88-E622-4209-B003-D5FF412B30B6}" dt="2022-10-10T10:15:55.937" v="1122"/>
          <ac:grpSpMkLst>
            <pc:docMk/>
            <pc:sldMk cId="2901459166" sldId="348"/>
            <ac:grpSpMk id="3" creationId="{6ABB2B83-9EFE-7C9C-0A98-DA1BA50A9F67}"/>
          </ac:grpSpMkLst>
        </pc:grpChg>
        <pc:cxnChg chg="add mod">
          <ac:chgData name="Quan Nguyen - Y17" userId="fcceac3d-5680-48d6-8dcd-178a9cd0e1b0" providerId="ADAL" clId="{6635BE88-E622-4209-B003-D5FF412B30B6}" dt="2022-10-10T10:26:47.108" v="1207" actId="13822"/>
          <ac:cxnSpMkLst>
            <pc:docMk/>
            <pc:sldMk cId="2901459166" sldId="348"/>
            <ac:cxnSpMk id="7" creationId="{9A8896D3-9C56-7AA3-D631-08A67A0D5D99}"/>
          </ac:cxnSpMkLst>
        </pc:cxnChg>
      </pc:sldChg>
      <pc:sldChg chg="add del">
        <pc:chgData name="Quan Nguyen - Y17" userId="fcceac3d-5680-48d6-8dcd-178a9cd0e1b0" providerId="ADAL" clId="{6635BE88-E622-4209-B003-D5FF412B30B6}" dt="2022-10-10T10:24:19.424" v="1190" actId="47"/>
        <pc:sldMkLst>
          <pc:docMk/>
          <pc:sldMk cId="2450948171" sldId="349"/>
        </pc:sldMkLst>
      </pc:sldChg>
      <pc:sldChg chg="addSp modSp add mod ord modNotesTx">
        <pc:chgData name="Quan Nguyen - Y17" userId="fcceac3d-5680-48d6-8dcd-178a9cd0e1b0" providerId="ADAL" clId="{6635BE88-E622-4209-B003-D5FF412B30B6}" dt="2022-10-10T11:35:16.056" v="2301" actId="164"/>
        <pc:sldMkLst>
          <pc:docMk/>
          <pc:sldMk cId="598268174" sldId="350"/>
        </pc:sldMkLst>
        <pc:spChg chg="mod">
          <ac:chgData name="Quan Nguyen - Y17" userId="fcceac3d-5680-48d6-8dcd-178a9cd0e1b0" providerId="ADAL" clId="{6635BE88-E622-4209-B003-D5FF412B30B6}" dt="2022-10-10T10:24:50.733" v="1195" actId="2711"/>
          <ac:spMkLst>
            <pc:docMk/>
            <pc:sldMk cId="598268174" sldId="350"/>
            <ac:spMk id="2" creationId="{45BE9921-35AA-4150-BFB4-D62331CEB36D}"/>
          </ac:spMkLst>
        </pc:spChg>
        <pc:spChg chg="add mod">
          <ac:chgData name="Quan Nguyen - Y17" userId="fcceac3d-5680-48d6-8dcd-178a9cd0e1b0" providerId="ADAL" clId="{6635BE88-E622-4209-B003-D5FF412B30B6}" dt="2022-10-10T11:35:16.056" v="2301" actId="164"/>
          <ac:spMkLst>
            <pc:docMk/>
            <pc:sldMk cId="598268174" sldId="350"/>
            <ac:spMk id="7" creationId="{9CCAA2FD-B28C-EDA3-67F3-DAF749279EF0}"/>
          </ac:spMkLst>
        </pc:spChg>
        <pc:spChg chg="add mod">
          <ac:chgData name="Quan Nguyen - Y17" userId="fcceac3d-5680-48d6-8dcd-178a9cd0e1b0" providerId="ADAL" clId="{6635BE88-E622-4209-B003-D5FF412B30B6}" dt="2022-10-10T11:35:16.056" v="2301" actId="164"/>
          <ac:spMkLst>
            <pc:docMk/>
            <pc:sldMk cId="598268174" sldId="350"/>
            <ac:spMk id="8" creationId="{A39676C6-97B2-B93B-DF45-BA76FC9B824A}"/>
          </ac:spMkLst>
        </pc:spChg>
        <pc:grpChg chg="add mod">
          <ac:chgData name="Quan Nguyen - Y17" userId="fcceac3d-5680-48d6-8dcd-178a9cd0e1b0" providerId="ADAL" clId="{6635BE88-E622-4209-B003-D5FF412B30B6}" dt="2022-10-10T11:35:16.056" v="2301" actId="164"/>
          <ac:grpSpMkLst>
            <pc:docMk/>
            <pc:sldMk cId="598268174" sldId="350"/>
            <ac:grpSpMk id="9" creationId="{A53EC971-6BE6-5BC3-9EDB-B934198D3F9D}"/>
          </ac:grpSpMkLst>
        </pc:grpChg>
        <pc:cxnChg chg="add mod">
          <ac:chgData name="Quan Nguyen - Y17" userId="fcceac3d-5680-48d6-8dcd-178a9cd0e1b0" providerId="ADAL" clId="{6635BE88-E622-4209-B003-D5FF412B30B6}" dt="2022-10-10T11:35:16.056" v="2301" actId="164"/>
          <ac:cxnSpMkLst>
            <pc:docMk/>
            <pc:sldMk cId="598268174" sldId="350"/>
            <ac:cxnSpMk id="6" creationId="{8734CA55-16D3-FFE7-DA93-1455347C358D}"/>
          </ac:cxnSpMkLst>
        </pc:cxnChg>
      </pc:sldChg>
      <pc:sldChg chg="modSp add mod modNotesTx">
        <pc:chgData name="Quan Nguyen - Y17" userId="fcceac3d-5680-48d6-8dcd-178a9cd0e1b0" providerId="ADAL" clId="{6635BE88-E622-4209-B003-D5FF412B30B6}" dt="2022-10-10T10:33:45.708" v="1245"/>
        <pc:sldMkLst>
          <pc:docMk/>
          <pc:sldMk cId="1641362983" sldId="351"/>
        </pc:sldMkLst>
        <pc:spChg chg="mod">
          <ac:chgData name="Quan Nguyen - Y17" userId="fcceac3d-5680-48d6-8dcd-178a9cd0e1b0" providerId="ADAL" clId="{6635BE88-E622-4209-B003-D5FF412B30B6}" dt="2022-10-10T10:33:24.577" v="1244" actId="6549"/>
          <ac:spMkLst>
            <pc:docMk/>
            <pc:sldMk cId="1641362983" sldId="351"/>
            <ac:spMk id="2" creationId="{45BE9921-35AA-4150-BFB4-D62331CEB36D}"/>
          </ac:spMkLst>
        </pc:spChg>
      </pc:sldChg>
      <pc:sldChg chg="modSp add mod modNotesTx">
        <pc:chgData name="Quan Nguyen - Y17" userId="fcceac3d-5680-48d6-8dcd-178a9cd0e1b0" providerId="ADAL" clId="{6635BE88-E622-4209-B003-D5FF412B30B6}" dt="2022-10-10T16:35:03.083" v="3281" actId="2711"/>
        <pc:sldMkLst>
          <pc:docMk/>
          <pc:sldMk cId="1042409068" sldId="352"/>
        </pc:sldMkLst>
        <pc:spChg chg="mod">
          <ac:chgData name="Quan Nguyen - Y17" userId="fcceac3d-5680-48d6-8dcd-178a9cd0e1b0" providerId="ADAL" clId="{6635BE88-E622-4209-B003-D5FF412B30B6}" dt="2022-10-10T16:35:03.083" v="3281" actId="2711"/>
          <ac:spMkLst>
            <pc:docMk/>
            <pc:sldMk cId="1042409068" sldId="352"/>
            <ac:spMk id="2" creationId="{45BE9921-35AA-4150-BFB4-D62331CEB36D}"/>
          </ac:spMkLst>
        </pc:spChg>
      </pc:sldChg>
      <pc:sldChg chg="addSp delSp modSp add mod ord modNotesTx">
        <pc:chgData name="Quan Nguyen - Y17" userId="fcceac3d-5680-48d6-8dcd-178a9cd0e1b0" providerId="ADAL" clId="{6635BE88-E622-4209-B003-D5FF412B30B6}" dt="2022-10-10T10:44:27.820" v="1345"/>
        <pc:sldMkLst>
          <pc:docMk/>
          <pc:sldMk cId="1795447043" sldId="353"/>
        </pc:sldMkLst>
        <pc:spChg chg="mod ord">
          <ac:chgData name="Quan Nguyen - Y17" userId="fcceac3d-5680-48d6-8dcd-178a9cd0e1b0" providerId="ADAL" clId="{6635BE88-E622-4209-B003-D5FF412B30B6}" dt="2022-10-10T10:44:14.706" v="1344" actId="207"/>
          <ac:spMkLst>
            <pc:docMk/>
            <pc:sldMk cId="1795447043" sldId="353"/>
            <ac:spMk id="2" creationId="{45BE9921-35AA-4150-BFB4-D62331CEB36D}"/>
          </ac:spMkLst>
        </pc:spChg>
        <pc:spChg chg="add del">
          <ac:chgData name="Quan Nguyen - Y17" userId="fcceac3d-5680-48d6-8dcd-178a9cd0e1b0" providerId="ADAL" clId="{6635BE88-E622-4209-B003-D5FF412B30B6}" dt="2022-10-10T10:42:52.745" v="1329" actId="478"/>
          <ac:spMkLst>
            <pc:docMk/>
            <pc:sldMk cId="1795447043" sldId="353"/>
            <ac:spMk id="8" creationId="{A39676C6-97B2-B93B-DF45-BA76FC9B824A}"/>
          </ac:spMkLst>
        </pc:spChg>
        <pc:spChg chg="add mod">
          <ac:chgData name="Quan Nguyen - Y17" userId="fcceac3d-5680-48d6-8dcd-178a9cd0e1b0" providerId="ADAL" clId="{6635BE88-E622-4209-B003-D5FF412B30B6}" dt="2022-10-10T10:43:12.611" v="1335" actId="1076"/>
          <ac:spMkLst>
            <pc:docMk/>
            <pc:sldMk cId="1795447043" sldId="353"/>
            <ac:spMk id="9" creationId="{A735DC49-4D89-14BB-7166-F8E4741B96EE}"/>
          </ac:spMkLst>
        </pc:spChg>
      </pc:sldChg>
      <pc:sldChg chg="modSp add mod modNotesTx">
        <pc:chgData name="Quan Nguyen - Y17" userId="fcceac3d-5680-48d6-8dcd-178a9cd0e1b0" providerId="ADAL" clId="{6635BE88-E622-4209-B003-D5FF412B30B6}" dt="2022-10-10T17:36:57.016" v="4278" actId="167"/>
        <pc:sldMkLst>
          <pc:docMk/>
          <pc:sldMk cId="2138634118" sldId="354"/>
        </pc:sldMkLst>
        <pc:spChg chg="mod">
          <ac:chgData name="Quan Nguyen - Y17" userId="fcceac3d-5680-48d6-8dcd-178a9cd0e1b0" providerId="ADAL" clId="{6635BE88-E622-4209-B003-D5FF412B30B6}" dt="2022-10-10T17:36:48.546" v="4277" actId="14100"/>
          <ac:spMkLst>
            <pc:docMk/>
            <pc:sldMk cId="2138634118" sldId="354"/>
            <ac:spMk id="2" creationId="{45BE9921-35AA-4150-BFB4-D62331CEB36D}"/>
          </ac:spMkLst>
        </pc:spChg>
        <pc:spChg chg="mod">
          <ac:chgData name="Quan Nguyen - Y17" userId="fcceac3d-5680-48d6-8dcd-178a9cd0e1b0" providerId="ADAL" clId="{6635BE88-E622-4209-B003-D5FF412B30B6}" dt="2022-10-10T10:48:23.827" v="1374" actId="1076"/>
          <ac:spMkLst>
            <pc:docMk/>
            <pc:sldMk cId="2138634118" sldId="354"/>
            <ac:spMk id="9" creationId="{A735DC49-4D89-14BB-7166-F8E4741B96EE}"/>
          </ac:spMkLst>
        </pc:spChg>
        <pc:spChg chg="ord">
          <ac:chgData name="Quan Nguyen - Y17" userId="fcceac3d-5680-48d6-8dcd-178a9cd0e1b0" providerId="ADAL" clId="{6635BE88-E622-4209-B003-D5FF412B30B6}" dt="2022-10-10T17:36:57.016" v="4278" actId="167"/>
          <ac:spMkLst>
            <pc:docMk/>
            <pc:sldMk cId="2138634118" sldId="354"/>
            <ac:spMk id="148" creationId="{7AA87DAD-C80B-4B71-B463-E06118E1AF91}"/>
          </ac:spMkLst>
        </pc:spChg>
      </pc:sldChg>
      <pc:sldChg chg="addSp modSp add mod modNotesTx">
        <pc:chgData name="Quan Nguyen - Y17" userId="fcceac3d-5680-48d6-8dcd-178a9cd0e1b0" providerId="ADAL" clId="{6635BE88-E622-4209-B003-D5FF412B30B6}" dt="2022-10-10T11:03:22.848" v="1526" actId="164"/>
        <pc:sldMkLst>
          <pc:docMk/>
          <pc:sldMk cId="3090464001" sldId="355"/>
        </pc:sldMkLst>
        <pc:spChg chg="mod">
          <ac:chgData name="Quan Nguyen - Y17" userId="fcceac3d-5680-48d6-8dcd-178a9cd0e1b0" providerId="ADAL" clId="{6635BE88-E622-4209-B003-D5FF412B30B6}" dt="2022-10-10T10:49:17.371" v="1379" actId="1076"/>
          <ac:spMkLst>
            <pc:docMk/>
            <pc:sldMk cId="3090464001" sldId="355"/>
            <ac:spMk id="2" creationId="{45BE9921-35AA-4150-BFB4-D62331CEB36D}"/>
          </ac:spMkLst>
        </pc:spChg>
        <pc:spChg chg="mod">
          <ac:chgData name="Quan Nguyen - Y17" userId="fcceac3d-5680-48d6-8dcd-178a9cd0e1b0" providerId="ADAL" clId="{6635BE88-E622-4209-B003-D5FF412B30B6}" dt="2022-10-10T11:03:22.848" v="1526" actId="164"/>
          <ac:spMkLst>
            <pc:docMk/>
            <pc:sldMk cId="3090464001" sldId="355"/>
            <ac:spMk id="7" creationId="{9CCAA2FD-B28C-EDA3-67F3-DAF749279EF0}"/>
          </ac:spMkLst>
        </pc:spChg>
        <pc:spChg chg="add mod">
          <ac:chgData name="Quan Nguyen - Y17" userId="fcceac3d-5680-48d6-8dcd-178a9cd0e1b0" providerId="ADAL" clId="{6635BE88-E622-4209-B003-D5FF412B30B6}" dt="2022-10-10T11:03:22.848" v="1526" actId="164"/>
          <ac:spMkLst>
            <pc:docMk/>
            <pc:sldMk cId="3090464001" sldId="355"/>
            <ac:spMk id="8" creationId="{6E3DD614-6C49-0F86-43EE-68CBD6A654C1}"/>
          </ac:spMkLst>
        </pc:spChg>
        <pc:spChg chg="mod">
          <ac:chgData name="Quan Nguyen - Y17" userId="fcceac3d-5680-48d6-8dcd-178a9cd0e1b0" providerId="ADAL" clId="{6635BE88-E622-4209-B003-D5FF412B30B6}" dt="2022-10-10T10:49:56.749" v="1384"/>
          <ac:spMkLst>
            <pc:docMk/>
            <pc:sldMk cId="3090464001" sldId="355"/>
            <ac:spMk id="9" creationId="{A735DC49-4D89-14BB-7166-F8E4741B96EE}"/>
          </ac:spMkLst>
        </pc:spChg>
        <pc:grpChg chg="add mod">
          <ac:chgData name="Quan Nguyen - Y17" userId="fcceac3d-5680-48d6-8dcd-178a9cd0e1b0" providerId="ADAL" clId="{6635BE88-E622-4209-B003-D5FF412B30B6}" dt="2022-10-10T11:03:22.848" v="1526" actId="164"/>
          <ac:grpSpMkLst>
            <pc:docMk/>
            <pc:sldMk cId="3090464001" sldId="355"/>
            <ac:grpSpMk id="11" creationId="{129B7D94-DA07-CF02-6AFE-254554669917}"/>
          </ac:grpSpMkLst>
        </pc:grpChg>
        <pc:cxnChg chg="mod">
          <ac:chgData name="Quan Nguyen - Y17" userId="fcceac3d-5680-48d6-8dcd-178a9cd0e1b0" providerId="ADAL" clId="{6635BE88-E622-4209-B003-D5FF412B30B6}" dt="2022-10-10T11:03:22.848" v="1526" actId="164"/>
          <ac:cxnSpMkLst>
            <pc:docMk/>
            <pc:sldMk cId="3090464001" sldId="355"/>
            <ac:cxnSpMk id="6" creationId="{8734CA55-16D3-FFE7-DA93-1455347C358D}"/>
          </ac:cxnSpMkLst>
        </pc:cxnChg>
      </pc:sldChg>
      <pc:sldChg chg="addSp modSp add mod modNotesTx">
        <pc:chgData name="Quan Nguyen - Y17" userId="fcceac3d-5680-48d6-8dcd-178a9cd0e1b0" providerId="ADAL" clId="{6635BE88-E622-4209-B003-D5FF412B30B6}" dt="2022-10-10T10:54:48.783" v="1473" actId="20577"/>
        <pc:sldMkLst>
          <pc:docMk/>
          <pc:sldMk cId="4188419405" sldId="356"/>
        </pc:sldMkLst>
        <pc:spChg chg="mod">
          <ac:chgData name="Quan Nguyen - Y17" userId="fcceac3d-5680-48d6-8dcd-178a9cd0e1b0" providerId="ADAL" clId="{6635BE88-E622-4209-B003-D5FF412B30B6}" dt="2022-10-10T10:52:45.594" v="1394"/>
          <ac:spMkLst>
            <pc:docMk/>
            <pc:sldMk cId="4188419405" sldId="356"/>
            <ac:spMk id="3" creationId="{37F181D4-A2E5-71CF-0D78-799B77CC97D8}"/>
          </ac:spMkLst>
        </pc:spChg>
        <pc:spChg chg="mod">
          <ac:chgData name="Quan Nguyen - Y17" userId="fcceac3d-5680-48d6-8dcd-178a9cd0e1b0" providerId="ADAL" clId="{6635BE88-E622-4209-B003-D5FF412B30B6}" dt="2022-10-10T10:54:48.783" v="1473" actId="20577"/>
          <ac:spMkLst>
            <pc:docMk/>
            <pc:sldMk cId="4188419405" sldId="356"/>
            <ac:spMk id="4" creationId="{ED8E3DAF-D0AD-0175-39A8-142F864C715F}"/>
          </ac:spMkLst>
        </pc:spChg>
        <pc:spChg chg="add mod">
          <ac:chgData name="Quan Nguyen - Y17" userId="fcceac3d-5680-48d6-8dcd-178a9cd0e1b0" providerId="ADAL" clId="{6635BE88-E622-4209-B003-D5FF412B30B6}" dt="2022-10-10T10:54:12.129" v="1467" actId="2711"/>
          <ac:spMkLst>
            <pc:docMk/>
            <pc:sldMk cId="4188419405" sldId="356"/>
            <ac:spMk id="6" creationId="{B9521BB9-8E5A-B810-DDAC-AA48F883B12C}"/>
          </ac:spMkLst>
        </pc:spChg>
        <pc:spChg chg="add mod">
          <ac:chgData name="Quan Nguyen - Y17" userId="fcceac3d-5680-48d6-8dcd-178a9cd0e1b0" providerId="ADAL" clId="{6635BE88-E622-4209-B003-D5FF412B30B6}" dt="2022-10-10T10:54:17.699" v="1468" actId="14100"/>
          <ac:spMkLst>
            <pc:docMk/>
            <pc:sldMk cId="4188419405" sldId="356"/>
            <ac:spMk id="8" creationId="{7DB6E6E5-4F69-1609-AEA4-85903517C7FA}"/>
          </ac:spMkLst>
        </pc:spChg>
        <pc:grpChg chg="add mod">
          <ac:chgData name="Quan Nguyen - Y17" userId="fcceac3d-5680-48d6-8dcd-178a9cd0e1b0" providerId="ADAL" clId="{6635BE88-E622-4209-B003-D5FF412B30B6}" dt="2022-10-10T10:52:45.594" v="1394"/>
          <ac:grpSpMkLst>
            <pc:docMk/>
            <pc:sldMk cId="4188419405" sldId="356"/>
            <ac:grpSpMk id="2" creationId="{487C5B63-E044-14AB-8EBE-B3CD55AA2C49}"/>
          </ac:grpSpMkLst>
        </pc:grpChg>
        <pc:graphicFrameChg chg="add mod modGraphic">
          <ac:chgData name="Quan Nguyen - Y17" userId="fcceac3d-5680-48d6-8dcd-178a9cd0e1b0" providerId="ADAL" clId="{6635BE88-E622-4209-B003-D5FF412B30B6}" dt="2022-10-10T10:54:23.154" v="1469" actId="1076"/>
          <ac:graphicFrameMkLst>
            <pc:docMk/>
            <pc:sldMk cId="4188419405" sldId="356"/>
            <ac:graphicFrameMk id="5" creationId="{4F406570-EEA7-1F70-CA38-38AE0E4AD4B8}"/>
          </ac:graphicFrameMkLst>
        </pc:graphicFrameChg>
      </pc:sldChg>
      <pc:sldChg chg="addSp delSp modSp add mod modNotesTx">
        <pc:chgData name="Quan Nguyen - Y17" userId="fcceac3d-5680-48d6-8dcd-178a9cd0e1b0" providerId="ADAL" clId="{6635BE88-E622-4209-B003-D5FF412B30B6}" dt="2022-10-10T11:28:05.269" v="2126" actId="571"/>
        <pc:sldMkLst>
          <pc:docMk/>
          <pc:sldMk cId="2028686509" sldId="357"/>
        </pc:sldMkLst>
        <pc:spChg chg="del">
          <ac:chgData name="Quan Nguyen - Y17" userId="fcceac3d-5680-48d6-8dcd-178a9cd0e1b0" providerId="ADAL" clId="{6635BE88-E622-4209-B003-D5FF412B30B6}" dt="2022-10-10T11:02:43.019" v="1521" actId="478"/>
          <ac:spMkLst>
            <pc:docMk/>
            <pc:sldMk cId="2028686509" sldId="357"/>
            <ac:spMk id="6" creationId="{B9521BB9-8E5A-B810-DDAC-AA48F883B12C}"/>
          </ac:spMkLst>
        </pc:spChg>
        <pc:spChg chg="del">
          <ac:chgData name="Quan Nguyen - Y17" userId="fcceac3d-5680-48d6-8dcd-178a9cd0e1b0" providerId="ADAL" clId="{6635BE88-E622-4209-B003-D5FF412B30B6}" dt="2022-10-10T11:02:43.019" v="1521" actId="478"/>
          <ac:spMkLst>
            <pc:docMk/>
            <pc:sldMk cId="2028686509" sldId="357"/>
            <ac:spMk id="8" creationId="{7DB6E6E5-4F69-1609-AEA4-85903517C7FA}"/>
          </ac:spMkLst>
        </pc:spChg>
        <pc:spChg chg="add mod ord">
          <ac:chgData name="Quan Nguyen - Y17" userId="fcceac3d-5680-48d6-8dcd-178a9cd0e1b0" providerId="ADAL" clId="{6635BE88-E622-4209-B003-D5FF412B30B6}" dt="2022-10-10T11:15:45.711" v="1986" actId="167"/>
          <ac:spMkLst>
            <pc:docMk/>
            <pc:sldMk cId="2028686509" sldId="357"/>
            <ac:spMk id="9" creationId="{66F9D08F-09A9-93E2-EC27-0E9A05331240}"/>
          </ac:spMkLst>
        </pc:spChg>
        <pc:spChg chg="add mod">
          <ac:chgData name="Quan Nguyen - Y17" userId="fcceac3d-5680-48d6-8dcd-178a9cd0e1b0" providerId="ADAL" clId="{6635BE88-E622-4209-B003-D5FF412B30B6}" dt="2022-10-10T11:02:57.196" v="1523" actId="1076"/>
          <ac:spMkLst>
            <pc:docMk/>
            <pc:sldMk cId="2028686509" sldId="357"/>
            <ac:spMk id="10" creationId="{4DDF4512-551C-EFBC-F481-E28F1713E94D}"/>
          </ac:spMkLst>
        </pc:spChg>
        <pc:spChg chg="mod">
          <ac:chgData name="Quan Nguyen - Y17" userId="fcceac3d-5680-48d6-8dcd-178a9cd0e1b0" providerId="ADAL" clId="{6635BE88-E622-4209-B003-D5FF412B30B6}" dt="2022-10-10T11:04:32.985" v="1539"/>
          <ac:spMkLst>
            <pc:docMk/>
            <pc:sldMk cId="2028686509" sldId="357"/>
            <ac:spMk id="13" creationId="{9C9D14F1-D12E-0DC3-E763-C90D25449714}"/>
          </ac:spMkLst>
        </pc:spChg>
        <pc:spChg chg="add mod">
          <ac:chgData name="Quan Nguyen - Y17" userId="fcceac3d-5680-48d6-8dcd-178a9cd0e1b0" providerId="ADAL" clId="{6635BE88-E622-4209-B003-D5FF412B30B6}" dt="2022-10-10T11:28:05.269" v="2126" actId="571"/>
          <ac:spMkLst>
            <pc:docMk/>
            <pc:sldMk cId="2028686509" sldId="357"/>
            <ac:spMk id="14" creationId="{16AD01BB-1702-977F-C0CC-16D5EE8B5CC7}"/>
          </ac:spMkLst>
        </pc:spChg>
        <pc:spChg chg="add mod">
          <ac:chgData name="Quan Nguyen - Y17" userId="fcceac3d-5680-48d6-8dcd-178a9cd0e1b0" providerId="ADAL" clId="{6635BE88-E622-4209-B003-D5FF412B30B6}" dt="2022-10-10T11:28:05.269" v="2126" actId="571"/>
          <ac:spMkLst>
            <pc:docMk/>
            <pc:sldMk cId="2028686509" sldId="357"/>
            <ac:spMk id="15" creationId="{716852C1-F50A-E409-FE95-2A8F81CE9AE5}"/>
          </ac:spMkLst>
        </pc:spChg>
        <pc:spChg chg="mod">
          <ac:chgData name="Quan Nguyen - Y17" userId="fcceac3d-5680-48d6-8dcd-178a9cd0e1b0" providerId="ADAL" clId="{6635BE88-E622-4209-B003-D5FF412B30B6}" dt="2022-10-10T11:28:05.269" v="2126" actId="571"/>
          <ac:spMkLst>
            <pc:docMk/>
            <pc:sldMk cId="2028686509" sldId="357"/>
            <ac:spMk id="17" creationId="{70E8878E-2CFA-FD1E-1C0A-1B21D844C8D9}"/>
          </ac:spMkLst>
        </pc:spChg>
        <pc:spChg chg="mod">
          <ac:chgData name="Quan Nguyen - Y17" userId="fcceac3d-5680-48d6-8dcd-178a9cd0e1b0" providerId="ADAL" clId="{6635BE88-E622-4209-B003-D5FF412B30B6}" dt="2022-10-10T11:28:05.269" v="2126" actId="571"/>
          <ac:spMkLst>
            <pc:docMk/>
            <pc:sldMk cId="2028686509" sldId="357"/>
            <ac:spMk id="18" creationId="{EED4DB75-31C6-B7FB-CE8E-7148C7D9F003}"/>
          </ac:spMkLst>
        </pc:spChg>
        <pc:spChg chg="mod">
          <ac:chgData name="Quan Nguyen - Y17" userId="fcceac3d-5680-48d6-8dcd-178a9cd0e1b0" providerId="ADAL" clId="{6635BE88-E622-4209-B003-D5FF412B30B6}" dt="2022-10-10T11:15:27.075" v="1980" actId="14100"/>
          <ac:spMkLst>
            <pc:docMk/>
            <pc:sldMk cId="2028686509" sldId="357"/>
            <ac:spMk id="59" creationId="{F00AE12C-A10C-41C1-8465-D0A4833058B8}"/>
          </ac:spMkLst>
        </pc:spChg>
        <pc:grpChg chg="add mod">
          <ac:chgData name="Quan Nguyen - Y17" userId="fcceac3d-5680-48d6-8dcd-178a9cd0e1b0" providerId="ADAL" clId="{6635BE88-E622-4209-B003-D5FF412B30B6}" dt="2022-10-10T11:08:59.067" v="1774" actId="1076"/>
          <ac:grpSpMkLst>
            <pc:docMk/>
            <pc:sldMk cId="2028686509" sldId="357"/>
            <ac:grpSpMk id="11" creationId="{8AFE93CE-B4CE-E985-25C8-455A3B140165}"/>
          </ac:grpSpMkLst>
        </pc:grpChg>
        <pc:grpChg chg="add mod">
          <ac:chgData name="Quan Nguyen - Y17" userId="fcceac3d-5680-48d6-8dcd-178a9cd0e1b0" providerId="ADAL" clId="{6635BE88-E622-4209-B003-D5FF412B30B6}" dt="2022-10-10T11:28:05.269" v="2126" actId="571"/>
          <ac:grpSpMkLst>
            <pc:docMk/>
            <pc:sldMk cId="2028686509" sldId="357"/>
            <ac:grpSpMk id="16" creationId="{91E29B94-C747-4EE8-EC3E-2E714A1AD254}"/>
          </ac:grpSpMkLst>
        </pc:grpChg>
        <pc:graphicFrameChg chg="del">
          <ac:chgData name="Quan Nguyen - Y17" userId="fcceac3d-5680-48d6-8dcd-178a9cd0e1b0" providerId="ADAL" clId="{6635BE88-E622-4209-B003-D5FF412B30B6}" dt="2022-10-10T11:02:43.019" v="1521" actId="478"/>
          <ac:graphicFrameMkLst>
            <pc:docMk/>
            <pc:sldMk cId="2028686509" sldId="357"/>
            <ac:graphicFrameMk id="5" creationId="{4F406570-EEA7-1F70-CA38-38AE0E4AD4B8}"/>
          </ac:graphicFrameMkLst>
        </pc:graphicFrameChg>
        <pc:cxnChg chg="mod">
          <ac:chgData name="Quan Nguyen - Y17" userId="fcceac3d-5680-48d6-8dcd-178a9cd0e1b0" providerId="ADAL" clId="{6635BE88-E622-4209-B003-D5FF412B30B6}" dt="2022-10-10T11:04:32.985" v="1539"/>
          <ac:cxnSpMkLst>
            <pc:docMk/>
            <pc:sldMk cId="2028686509" sldId="357"/>
            <ac:cxnSpMk id="12" creationId="{58EE047A-B3ED-90FA-0575-DF7426F0484B}"/>
          </ac:cxnSpMkLst>
        </pc:cxnChg>
      </pc:sldChg>
      <pc:sldChg chg="addSp delSp modSp add del mod">
        <pc:chgData name="Quan Nguyen - Y17" userId="fcceac3d-5680-48d6-8dcd-178a9cd0e1b0" providerId="ADAL" clId="{6635BE88-E622-4209-B003-D5FF412B30B6}" dt="2022-10-10T11:01:50.296" v="1491"/>
        <pc:sldMkLst>
          <pc:docMk/>
          <pc:sldMk cId="3241847726" sldId="357"/>
        </pc:sldMkLst>
        <pc:spChg chg="add del">
          <ac:chgData name="Quan Nguyen - Y17" userId="fcceac3d-5680-48d6-8dcd-178a9cd0e1b0" providerId="ADAL" clId="{6635BE88-E622-4209-B003-D5FF412B30B6}" dt="2022-10-10T11:01:49.030" v="1490" actId="478"/>
          <ac:spMkLst>
            <pc:docMk/>
            <pc:sldMk cId="3241847726" sldId="357"/>
            <ac:spMk id="6" creationId="{B9521BB9-8E5A-B810-DDAC-AA48F883B12C}"/>
          </ac:spMkLst>
        </pc:spChg>
        <pc:spChg chg="add del">
          <ac:chgData name="Quan Nguyen - Y17" userId="fcceac3d-5680-48d6-8dcd-178a9cd0e1b0" providerId="ADAL" clId="{6635BE88-E622-4209-B003-D5FF412B30B6}" dt="2022-10-10T11:01:49.030" v="1490" actId="478"/>
          <ac:spMkLst>
            <pc:docMk/>
            <pc:sldMk cId="3241847726" sldId="357"/>
            <ac:spMk id="8" creationId="{7DB6E6E5-4F69-1609-AEA4-85903517C7FA}"/>
          </ac:spMkLst>
        </pc:spChg>
        <pc:spChg chg="add del mod">
          <ac:chgData name="Quan Nguyen - Y17" userId="fcceac3d-5680-48d6-8dcd-178a9cd0e1b0" providerId="ADAL" clId="{6635BE88-E622-4209-B003-D5FF412B30B6}" dt="2022-10-10T11:01:47.660" v="1489"/>
          <ac:spMkLst>
            <pc:docMk/>
            <pc:sldMk cId="3241847726" sldId="357"/>
            <ac:spMk id="9" creationId="{DECCDC81-D691-4FBD-EFF4-6A8BA964CA8F}"/>
          </ac:spMkLst>
        </pc:spChg>
        <pc:spChg chg="add del mod">
          <ac:chgData name="Quan Nguyen - Y17" userId="fcceac3d-5680-48d6-8dcd-178a9cd0e1b0" providerId="ADAL" clId="{6635BE88-E622-4209-B003-D5FF412B30B6}" dt="2022-10-10T11:01:47.660" v="1489"/>
          <ac:spMkLst>
            <pc:docMk/>
            <pc:sldMk cId="3241847726" sldId="357"/>
            <ac:spMk id="10" creationId="{755D9D0A-FF6C-8D78-1B8D-23BDDA64DF4B}"/>
          </ac:spMkLst>
        </pc:spChg>
        <pc:graphicFrameChg chg="add del">
          <ac:chgData name="Quan Nguyen - Y17" userId="fcceac3d-5680-48d6-8dcd-178a9cd0e1b0" providerId="ADAL" clId="{6635BE88-E622-4209-B003-D5FF412B30B6}" dt="2022-10-10T11:01:49.030" v="1490" actId="478"/>
          <ac:graphicFrameMkLst>
            <pc:docMk/>
            <pc:sldMk cId="3241847726" sldId="357"/>
            <ac:graphicFrameMk id="5" creationId="{4F406570-EEA7-1F70-CA38-38AE0E4AD4B8}"/>
          </ac:graphicFrameMkLst>
        </pc:graphicFrameChg>
        <pc:picChg chg="add del mod">
          <ac:chgData name="Quan Nguyen - Y17" userId="fcceac3d-5680-48d6-8dcd-178a9cd0e1b0" providerId="ADAL" clId="{6635BE88-E622-4209-B003-D5FF412B30B6}" dt="2022-10-10T11:01:47.660" v="1489"/>
          <ac:picMkLst>
            <pc:docMk/>
            <pc:sldMk cId="3241847726" sldId="357"/>
            <ac:picMk id="11" creationId="{0C6E5CB9-F179-FA4E-E068-35B676A7735A}"/>
          </ac:picMkLst>
        </pc:picChg>
        <pc:picChg chg="add del mod">
          <ac:chgData name="Quan Nguyen - Y17" userId="fcceac3d-5680-48d6-8dcd-178a9cd0e1b0" providerId="ADAL" clId="{6635BE88-E622-4209-B003-D5FF412B30B6}" dt="2022-10-10T11:01:47.660" v="1489"/>
          <ac:picMkLst>
            <pc:docMk/>
            <pc:sldMk cId="3241847726" sldId="357"/>
            <ac:picMk id="12" creationId="{CD60C53B-DBF0-06AB-0448-91B02B543306}"/>
          </ac:picMkLst>
        </pc:picChg>
      </pc:sldChg>
      <pc:sldChg chg="addSp modSp add mod modNotesTx">
        <pc:chgData name="Quan Nguyen - Y17" userId="fcceac3d-5680-48d6-8dcd-178a9cd0e1b0" providerId="ADAL" clId="{6635BE88-E622-4209-B003-D5FF412B30B6}" dt="2022-10-10T11:13:51.826" v="1979" actId="20577"/>
        <pc:sldMkLst>
          <pc:docMk/>
          <pc:sldMk cId="436526837" sldId="358"/>
        </pc:sldMkLst>
        <pc:spChg chg="add mod">
          <ac:chgData name="Quan Nguyen - Y17" userId="fcceac3d-5680-48d6-8dcd-178a9cd0e1b0" providerId="ADAL" clId="{6635BE88-E622-4209-B003-D5FF412B30B6}" dt="2022-10-10T11:08:27.391" v="1770" actId="164"/>
          <ac:spMkLst>
            <pc:docMk/>
            <pc:sldMk cId="436526837" sldId="358"/>
            <ac:spMk id="5" creationId="{CAB70C6B-8FCC-0BFF-2EEF-16D512D13E30}"/>
          </ac:spMkLst>
        </pc:spChg>
        <pc:spChg chg="add mod">
          <ac:chgData name="Quan Nguyen - Y17" userId="fcceac3d-5680-48d6-8dcd-178a9cd0e1b0" providerId="ADAL" clId="{6635BE88-E622-4209-B003-D5FF412B30B6}" dt="2022-10-10T11:08:27.391" v="1770" actId="164"/>
          <ac:spMkLst>
            <pc:docMk/>
            <pc:sldMk cId="436526837" sldId="358"/>
            <ac:spMk id="6" creationId="{511996D7-FBA2-001D-55D6-91666A694E78}"/>
          </ac:spMkLst>
        </pc:spChg>
        <pc:spChg chg="mod ord">
          <ac:chgData name="Quan Nguyen - Y17" userId="fcceac3d-5680-48d6-8dcd-178a9cd0e1b0" providerId="ADAL" clId="{6635BE88-E622-4209-B003-D5FF412B30B6}" dt="2022-10-10T11:11:37.968" v="1788" actId="167"/>
          <ac:spMkLst>
            <pc:docMk/>
            <pc:sldMk cId="436526837" sldId="358"/>
            <ac:spMk id="9" creationId="{66F9D08F-09A9-93E2-EC27-0E9A05331240}"/>
          </ac:spMkLst>
        </pc:spChg>
        <pc:spChg chg="mod">
          <ac:chgData name="Quan Nguyen - Y17" userId="fcceac3d-5680-48d6-8dcd-178a9cd0e1b0" providerId="ADAL" clId="{6635BE88-E622-4209-B003-D5FF412B30B6}" dt="2022-10-10T11:08:17.899" v="1769" actId="1076"/>
          <ac:spMkLst>
            <pc:docMk/>
            <pc:sldMk cId="436526837" sldId="358"/>
            <ac:spMk id="10" creationId="{4DDF4512-551C-EFBC-F481-E28F1713E94D}"/>
          </ac:spMkLst>
        </pc:spChg>
        <pc:grpChg chg="mod">
          <ac:chgData name="Quan Nguyen - Y17" userId="fcceac3d-5680-48d6-8dcd-178a9cd0e1b0" providerId="ADAL" clId="{6635BE88-E622-4209-B003-D5FF412B30B6}" dt="2022-10-10T11:08:27.391" v="1770" actId="164"/>
          <ac:grpSpMkLst>
            <pc:docMk/>
            <pc:sldMk cId="436526837" sldId="358"/>
            <ac:grpSpMk id="11" creationId="{8AFE93CE-B4CE-E985-25C8-455A3B140165}"/>
          </ac:grpSpMkLst>
        </pc:grpChg>
        <pc:grpChg chg="add mod">
          <ac:chgData name="Quan Nguyen - Y17" userId="fcceac3d-5680-48d6-8dcd-178a9cd0e1b0" providerId="ADAL" clId="{6635BE88-E622-4209-B003-D5FF412B30B6}" dt="2022-10-10T11:08:35.324" v="1771" actId="1076"/>
          <ac:grpSpMkLst>
            <pc:docMk/>
            <pc:sldMk cId="436526837" sldId="358"/>
            <ac:grpSpMk id="14" creationId="{72F0EB3B-4626-D4AC-EA15-8FA857EAD71D}"/>
          </ac:grpSpMkLst>
        </pc:grpChg>
        <pc:cxnChg chg="mod">
          <ac:chgData name="Quan Nguyen - Y17" userId="fcceac3d-5680-48d6-8dcd-178a9cd0e1b0" providerId="ADAL" clId="{6635BE88-E622-4209-B003-D5FF412B30B6}" dt="2022-10-10T11:07:45.571" v="1766" actId="14100"/>
          <ac:cxnSpMkLst>
            <pc:docMk/>
            <pc:sldMk cId="436526837" sldId="358"/>
            <ac:cxnSpMk id="12" creationId="{58EE047A-B3ED-90FA-0575-DF7426F0484B}"/>
          </ac:cxnSpMkLst>
        </pc:cxnChg>
      </pc:sldChg>
      <pc:sldChg chg="addSp delSp modSp add mod modNotesTx">
        <pc:chgData name="Quan Nguyen - Y17" userId="fcceac3d-5680-48d6-8dcd-178a9cd0e1b0" providerId="ADAL" clId="{6635BE88-E622-4209-B003-D5FF412B30B6}" dt="2022-10-10T11:23:21.499" v="2029" actId="1076"/>
        <pc:sldMkLst>
          <pc:docMk/>
          <pc:sldMk cId="1545232345" sldId="359"/>
        </pc:sldMkLst>
        <pc:spChg chg="mod">
          <ac:chgData name="Quan Nguyen - Y17" userId="fcceac3d-5680-48d6-8dcd-178a9cd0e1b0" providerId="ADAL" clId="{6635BE88-E622-4209-B003-D5FF412B30B6}" dt="2022-10-10T11:12:27.310" v="1792"/>
          <ac:spMkLst>
            <pc:docMk/>
            <pc:sldMk cId="1545232345" sldId="359"/>
            <ac:spMk id="3" creationId="{B94A1BF3-AA4B-8CD0-5F53-CD7D79A5DF07}"/>
          </ac:spMkLst>
        </pc:spChg>
        <pc:spChg chg="mod">
          <ac:chgData name="Quan Nguyen - Y17" userId="fcceac3d-5680-48d6-8dcd-178a9cd0e1b0" providerId="ADAL" clId="{6635BE88-E622-4209-B003-D5FF412B30B6}" dt="2022-10-10T11:12:39.542" v="1835" actId="20577"/>
          <ac:spMkLst>
            <pc:docMk/>
            <pc:sldMk cId="1545232345" sldId="359"/>
            <ac:spMk id="4" creationId="{44793FD9-FFA6-9F3C-55BF-66B061AAB52F}"/>
          </ac:spMkLst>
        </pc:spChg>
        <pc:spChg chg="add mod ord">
          <ac:chgData name="Quan Nguyen - Y17" userId="fcceac3d-5680-48d6-8dcd-178a9cd0e1b0" providerId="ADAL" clId="{6635BE88-E622-4209-B003-D5FF412B30B6}" dt="2022-10-10T11:23:04.538" v="2028" actId="20577"/>
          <ac:spMkLst>
            <pc:docMk/>
            <pc:sldMk cId="1545232345" sldId="359"/>
            <ac:spMk id="5" creationId="{7BE305E6-8544-7F91-E9C3-A651B73524F5}"/>
          </ac:spMkLst>
        </pc:spChg>
        <pc:spChg chg="add mod">
          <ac:chgData name="Quan Nguyen - Y17" userId="fcceac3d-5680-48d6-8dcd-178a9cd0e1b0" providerId="ADAL" clId="{6635BE88-E622-4209-B003-D5FF412B30B6}" dt="2022-10-10T11:12:52.788" v="1837" actId="1076"/>
          <ac:spMkLst>
            <pc:docMk/>
            <pc:sldMk cId="1545232345" sldId="359"/>
            <ac:spMk id="6" creationId="{078404D9-FB5D-916E-25BD-6B810729824A}"/>
          </ac:spMkLst>
        </pc:spChg>
        <pc:spChg chg="mod">
          <ac:chgData name="Quan Nguyen - Y17" userId="fcceac3d-5680-48d6-8dcd-178a9cd0e1b0" providerId="ADAL" clId="{6635BE88-E622-4209-B003-D5FF412B30B6}" dt="2022-10-10T11:22:36.492" v="2021" actId="1076"/>
          <ac:spMkLst>
            <pc:docMk/>
            <pc:sldMk cId="1545232345" sldId="359"/>
            <ac:spMk id="10" creationId="{CF6FA629-C13E-D31F-F893-A0C5722D5D7F}"/>
          </ac:spMkLst>
        </pc:spChg>
        <pc:spChg chg="mod">
          <ac:chgData name="Quan Nguyen - Y17" userId="fcceac3d-5680-48d6-8dcd-178a9cd0e1b0" providerId="ADAL" clId="{6635BE88-E622-4209-B003-D5FF412B30B6}" dt="2022-10-10T11:22:26.348" v="2020" actId="1076"/>
          <ac:spMkLst>
            <pc:docMk/>
            <pc:sldMk cId="1545232345" sldId="359"/>
            <ac:spMk id="11" creationId="{98869B10-D245-EDD5-D4C9-3F2E0C4A5D74}"/>
          </ac:spMkLst>
        </pc:spChg>
        <pc:spChg chg="mod">
          <ac:chgData name="Quan Nguyen - Y17" userId="fcceac3d-5680-48d6-8dcd-178a9cd0e1b0" providerId="ADAL" clId="{6635BE88-E622-4209-B003-D5FF412B30B6}" dt="2022-10-10T11:22:47.483" v="2023" actId="1076"/>
          <ac:spMkLst>
            <pc:docMk/>
            <pc:sldMk cId="1545232345" sldId="359"/>
            <ac:spMk id="16" creationId="{CF873443-11A4-F3BD-AFEE-7904C3AC1DD3}"/>
          </ac:spMkLst>
        </pc:spChg>
        <pc:spChg chg="ord">
          <ac:chgData name="Quan Nguyen - Y17" userId="fcceac3d-5680-48d6-8dcd-178a9cd0e1b0" providerId="ADAL" clId="{6635BE88-E622-4209-B003-D5FF412B30B6}" dt="2022-10-10T11:20:29.098" v="2002" actId="166"/>
          <ac:spMkLst>
            <pc:docMk/>
            <pc:sldMk cId="1545232345" sldId="359"/>
            <ac:spMk id="17" creationId="{0A27ABDB-8549-4CFC-8E4E-B98508D1A959}"/>
          </ac:spMkLst>
        </pc:spChg>
        <pc:spChg chg="add mod">
          <ac:chgData name="Quan Nguyen - Y17" userId="fcceac3d-5680-48d6-8dcd-178a9cd0e1b0" providerId="ADAL" clId="{6635BE88-E622-4209-B003-D5FF412B30B6}" dt="2022-10-10T11:22:40.731" v="2022" actId="1076"/>
          <ac:spMkLst>
            <pc:docMk/>
            <pc:sldMk cId="1545232345" sldId="359"/>
            <ac:spMk id="18" creationId="{FD0943EF-2BD2-EDB1-F619-F8A8BEA645E7}"/>
          </ac:spMkLst>
        </pc:spChg>
        <pc:grpChg chg="add mod">
          <ac:chgData name="Quan Nguyen - Y17" userId="fcceac3d-5680-48d6-8dcd-178a9cd0e1b0" providerId="ADAL" clId="{6635BE88-E622-4209-B003-D5FF412B30B6}" dt="2022-10-10T11:12:27.310" v="1792"/>
          <ac:grpSpMkLst>
            <pc:docMk/>
            <pc:sldMk cId="1545232345" sldId="359"/>
            <ac:grpSpMk id="2" creationId="{FA0E0F7B-6AC1-997A-FC4E-E6B5B370DE0B}"/>
          </ac:grpSpMkLst>
        </pc:grpChg>
        <pc:grpChg chg="add mod">
          <ac:chgData name="Quan Nguyen - Y17" userId="fcceac3d-5680-48d6-8dcd-178a9cd0e1b0" providerId="ADAL" clId="{6635BE88-E622-4209-B003-D5FF412B30B6}" dt="2022-10-10T11:19:17.516" v="1989" actId="1076"/>
          <ac:grpSpMkLst>
            <pc:docMk/>
            <pc:sldMk cId="1545232345" sldId="359"/>
            <ac:grpSpMk id="7" creationId="{0A3538C7-985A-BA5D-A857-79492EFA7908}"/>
          </ac:grpSpMkLst>
        </pc:grpChg>
        <pc:grpChg chg="del">
          <ac:chgData name="Quan Nguyen - Y17" userId="fcceac3d-5680-48d6-8dcd-178a9cd0e1b0" providerId="ADAL" clId="{6635BE88-E622-4209-B003-D5FF412B30B6}" dt="2022-10-10T11:12:26.126" v="1791" actId="478"/>
          <ac:grpSpMkLst>
            <pc:docMk/>
            <pc:sldMk cId="1545232345" sldId="359"/>
            <ac:grpSpMk id="8" creationId="{0B08BBB2-D723-40AF-8467-E62CB87D54D3}"/>
          </ac:grpSpMkLst>
        </pc:grpChg>
        <pc:grpChg chg="mod">
          <ac:chgData name="Quan Nguyen - Y17" userId="fcceac3d-5680-48d6-8dcd-178a9cd0e1b0" providerId="ADAL" clId="{6635BE88-E622-4209-B003-D5FF412B30B6}" dt="2022-10-10T11:19:12.900" v="1988"/>
          <ac:grpSpMkLst>
            <pc:docMk/>
            <pc:sldMk cId="1545232345" sldId="359"/>
            <ac:grpSpMk id="9" creationId="{EAFF3FC8-3F08-A1F4-0F6A-5D42431D0E61}"/>
          </ac:grpSpMkLst>
        </pc:grpChg>
        <pc:grpChg chg="mod">
          <ac:chgData name="Quan Nguyen - Y17" userId="fcceac3d-5680-48d6-8dcd-178a9cd0e1b0" providerId="ADAL" clId="{6635BE88-E622-4209-B003-D5FF412B30B6}" dt="2022-10-10T11:20:50.057" v="2007" actId="1076"/>
          <ac:grpSpMkLst>
            <pc:docMk/>
            <pc:sldMk cId="1545232345" sldId="359"/>
            <ac:grpSpMk id="185" creationId="{8ED9B3ED-7120-4603-8CCD-E00D81660B0D}"/>
          </ac:grpSpMkLst>
        </pc:grpChg>
        <pc:cxnChg chg="mod">
          <ac:chgData name="Quan Nguyen - Y17" userId="fcceac3d-5680-48d6-8dcd-178a9cd0e1b0" providerId="ADAL" clId="{6635BE88-E622-4209-B003-D5FF412B30B6}" dt="2022-10-10T11:22:10.860" v="2018" actId="14100"/>
          <ac:cxnSpMkLst>
            <pc:docMk/>
            <pc:sldMk cId="1545232345" sldId="359"/>
            <ac:cxnSpMk id="12" creationId="{D3F4176C-0EB8-C526-7AEA-9A951D0704AF}"/>
          </ac:cxnSpMkLst>
        </pc:cxnChg>
        <pc:cxnChg chg="mod">
          <ac:chgData name="Quan Nguyen - Y17" userId="fcceac3d-5680-48d6-8dcd-178a9cd0e1b0" providerId="ADAL" clId="{6635BE88-E622-4209-B003-D5FF412B30B6}" dt="2022-10-10T11:23:21.499" v="2029" actId="1076"/>
          <ac:cxnSpMkLst>
            <pc:docMk/>
            <pc:sldMk cId="1545232345" sldId="359"/>
            <ac:cxnSpMk id="100" creationId="{C37D7D94-A4F8-436E-A575-EF167AFBCF7C}"/>
          </ac:cxnSpMkLst>
        </pc:cxnChg>
      </pc:sldChg>
      <pc:sldChg chg="delSp modSp add mod modNotesTx">
        <pc:chgData name="Quan Nguyen - Y17" userId="fcceac3d-5680-48d6-8dcd-178a9cd0e1b0" providerId="ADAL" clId="{6635BE88-E622-4209-B003-D5FF412B30B6}" dt="2022-10-10T11:26:14.319" v="2070" actId="255"/>
        <pc:sldMkLst>
          <pc:docMk/>
          <pc:sldMk cId="3349488933" sldId="360"/>
        </pc:sldMkLst>
        <pc:spChg chg="mod">
          <ac:chgData name="Quan Nguyen - Y17" userId="fcceac3d-5680-48d6-8dcd-178a9cd0e1b0" providerId="ADAL" clId="{6635BE88-E622-4209-B003-D5FF412B30B6}" dt="2022-10-10T11:25:08.010" v="2067" actId="20577"/>
          <ac:spMkLst>
            <pc:docMk/>
            <pc:sldMk cId="3349488933" sldId="360"/>
            <ac:spMk id="5" creationId="{7BE305E6-8544-7F91-E9C3-A651B73524F5}"/>
          </ac:spMkLst>
        </pc:spChg>
        <pc:spChg chg="mod">
          <ac:chgData name="Quan Nguyen - Y17" userId="fcceac3d-5680-48d6-8dcd-178a9cd0e1b0" providerId="ADAL" clId="{6635BE88-E622-4209-B003-D5FF412B30B6}" dt="2022-10-10T11:26:14.319" v="2070" actId="255"/>
          <ac:spMkLst>
            <pc:docMk/>
            <pc:sldMk cId="3349488933" sldId="360"/>
            <ac:spMk id="6" creationId="{078404D9-FB5D-916E-25BD-6B810729824A}"/>
          </ac:spMkLst>
        </pc:spChg>
        <pc:spChg chg="mod">
          <ac:chgData name="Quan Nguyen - Y17" userId="fcceac3d-5680-48d6-8dcd-178a9cd0e1b0" providerId="ADAL" clId="{6635BE88-E622-4209-B003-D5FF412B30B6}" dt="2022-10-10T11:24:11.179" v="2035" actId="688"/>
          <ac:spMkLst>
            <pc:docMk/>
            <pc:sldMk cId="3349488933" sldId="360"/>
            <ac:spMk id="18" creationId="{FD0943EF-2BD2-EDB1-F619-F8A8BEA645E7}"/>
          </ac:spMkLst>
        </pc:spChg>
        <pc:grpChg chg="del">
          <ac:chgData name="Quan Nguyen - Y17" userId="fcceac3d-5680-48d6-8dcd-178a9cd0e1b0" providerId="ADAL" clId="{6635BE88-E622-4209-B003-D5FF412B30B6}" dt="2022-10-10T11:23:51.546" v="2031" actId="478"/>
          <ac:grpSpMkLst>
            <pc:docMk/>
            <pc:sldMk cId="3349488933" sldId="360"/>
            <ac:grpSpMk id="7" creationId="{0A3538C7-985A-BA5D-A857-79492EFA7908}"/>
          </ac:grpSpMkLst>
        </pc:grpChg>
      </pc:sldChg>
      <pc:sldChg chg="addSp delSp modSp add mod">
        <pc:chgData name="Quan Nguyen - Y17" userId="fcceac3d-5680-48d6-8dcd-178a9cd0e1b0" providerId="ADAL" clId="{6635BE88-E622-4209-B003-D5FF412B30B6}" dt="2022-10-10T11:35:50.140" v="2308" actId="1076"/>
        <pc:sldMkLst>
          <pc:docMk/>
          <pc:sldMk cId="843204920" sldId="361"/>
        </pc:sldMkLst>
        <pc:spChg chg="mod">
          <ac:chgData name="Quan Nguyen - Y17" userId="fcceac3d-5680-48d6-8dcd-178a9cd0e1b0" providerId="ADAL" clId="{6635BE88-E622-4209-B003-D5FF412B30B6}" dt="2022-10-10T11:34:56.356" v="2300" actId="1076"/>
          <ac:spMkLst>
            <pc:docMk/>
            <pc:sldMk cId="843204920" sldId="361"/>
            <ac:spMk id="2" creationId="{181BF466-675B-4C91-E945-C6343C6128B9}"/>
          </ac:spMkLst>
        </pc:spChg>
        <pc:spChg chg="mod">
          <ac:chgData name="Quan Nguyen - Y17" userId="fcceac3d-5680-48d6-8dcd-178a9cd0e1b0" providerId="ADAL" clId="{6635BE88-E622-4209-B003-D5FF412B30B6}" dt="2022-10-10T11:35:23.067" v="2302"/>
          <ac:spMkLst>
            <pc:docMk/>
            <pc:sldMk cId="843204920" sldId="361"/>
            <ac:spMk id="6" creationId="{7813F110-99FB-D2F1-F9AB-3DE72570AA2C}"/>
          </ac:spMkLst>
        </pc:spChg>
        <pc:spChg chg="del mod">
          <ac:chgData name="Quan Nguyen - Y17" userId="fcceac3d-5680-48d6-8dcd-178a9cd0e1b0" providerId="ADAL" clId="{6635BE88-E622-4209-B003-D5FF412B30B6}" dt="2022-10-10T11:35:30.745" v="2304" actId="478"/>
          <ac:spMkLst>
            <pc:docMk/>
            <pc:sldMk cId="843204920" sldId="361"/>
            <ac:spMk id="7" creationId="{7F78282D-1AA0-4F64-3D86-45A712D1EF1A}"/>
          </ac:spMkLst>
        </pc:spChg>
        <pc:spChg chg="mod">
          <ac:chgData name="Quan Nguyen - Y17" userId="fcceac3d-5680-48d6-8dcd-178a9cd0e1b0" providerId="ADAL" clId="{6635BE88-E622-4209-B003-D5FF412B30B6}" dt="2022-10-10T11:34:33.094" v="2296" actId="20577"/>
          <ac:spMkLst>
            <pc:docMk/>
            <pc:sldMk cId="843204920" sldId="361"/>
            <ac:spMk id="14" creationId="{75D937E8-ACE5-44B9-8289-4EA6EFF979B0}"/>
          </ac:spMkLst>
        </pc:spChg>
        <pc:grpChg chg="add mod">
          <ac:chgData name="Quan Nguyen - Y17" userId="fcceac3d-5680-48d6-8dcd-178a9cd0e1b0" providerId="ADAL" clId="{6635BE88-E622-4209-B003-D5FF412B30B6}" dt="2022-10-10T11:35:38.453" v="2306" actId="14100"/>
          <ac:grpSpMkLst>
            <pc:docMk/>
            <pc:sldMk cId="843204920" sldId="361"/>
            <ac:grpSpMk id="4" creationId="{82C04291-E69B-A1E6-2132-8CEE6B8B8E68}"/>
          </ac:grpSpMkLst>
        </pc:grpChg>
        <pc:grpChg chg="mod">
          <ac:chgData name="Quan Nguyen - Y17" userId="fcceac3d-5680-48d6-8dcd-178a9cd0e1b0" providerId="ADAL" clId="{6635BE88-E622-4209-B003-D5FF412B30B6}" dt="2022-10-10T11:35:50.140" v="2308" actId="1076"/>
          <ac:grpSpMkLst>
            <pc:docMk/>
            <pc:sldMk cId="843204920" sldId="361"/>
            <ac:grpSpMk id="185" creationId="{8ED9B3ED-7120-4603-8CCD-E00D81660B0D}"/>
          </ac:grpSpMkLst>
        </pc:grpChg>
        <pc:picChg chg="del">
          <ac:chgData name="Quan Nguyen - Y17" userId="fcceac3d-5680-48d6-8dcd-178a9cd0e1b0" providerId="ADAL" clId="{6635BE88-E622-4209-B003-D5FF412B30B6}" dt="2022-10-10T11:33:37.727" v="2255" actId="478"/>
          <ac:picMkLst>
            <pc:docMk/>
            <pc:sldMk cId="843204920" sldId="361"/>
            <ac:picMk id="3" creationId="{39A9979A-7F11-D7B7-875C-3397CBE493A0}"/>
          </ac:picMkLst>
        </pc:picChg>
        <pc:cxnChg chg="mod">
          <ac:chgData name="Quan Nguyen - Y17" userId="fcceac3d-5680-48d6-8dcd-178a9cd0e1b0" providerId="ADAL" clId="{6635BE88-E622-4209-B003-D5FF412B30B6}" dt="2022-10-10T11:35:42.075" v="2307" actId="14100"/>
          <ac:cxnSpMkLst>
            <pc:docMk/>
            <pc:sldMk cId="843204920" sldId="361"/>
            <ac:cxnSpMk id="5" creationId="{53010CDA-DA38-D9FC-7A11-6D6C678D527C}"/>
          </ac:cxnSpMkLst>
        </pc:cxnChg>
      </pc:sldChg>
      <pc:sldChg chg="addSp delSp modSp add mod modNotesTx">
        <pc:chgData name="Quan Nguyen - Y17" userId="fcceac3d-5680-48d6-8dcd-178a9cd0e1b0" providerId="ADAL" clId="{6635BE88-E622-4209-B003-D5FF412B30B6}" dt="2022-10-10T11:46:05.156" v="2418" actId="1035"/>
        <pc:sldMkLst>
          <pc:docMk/>
          <pc:sldMk cId="2527682482" sldId="362"/>
        </pc:sldMkLst>
        <pc:spChg chg="del mod">
          <ac:chgData name="Quan Nguyen - Y17" userId="fcceac3d-5680-48d6-8dcd-178a9cd0e1b0" providerId="ADAL" clId="{6635BE88-E622-4209-B003-D5FF412B30B6}" dt="2022-10-10T11:36:40.576" v="2315" actId="478"/>
          <ac:spMkLst>
            <pc:docMk/>
            <pc:sldMk cId="2527682482" sldId="362"/>
            <ac:spMk id="2" creationId="{181BF466-675B-4C91-E945-C6343C6128B9}"/>
          </ac:spMkLst>
        </pc:spChg>
        <pc:spChg chg="add mod">
          <ac:chgData name="Quan Nguyen - Y17" userId="fcceac3d-5680-48d6-8dcd-178a9cd0e1b0" providerId="ADAL" clId="{6635BE88-E622-4209-B003-D5FF412B30B6}" dt="2022-10-10T11:41:02.386" v="2375" actId="207"/>
          <ac:spMkLst>
            <pc:docMk/>
            <pc:sldMk cId="2527682482" sldId="362"/>
            <ac:spMk id="3" creationId="{46952FCB-E322-3CE4-E6BA-DA206D17AC4F}"/>
          </ac:spMkLst>
        </pc:spChg>
        <pc:spChg chg="mod">
          <ac:chgData name="Quan Nguyen - Y17" userId="fcceac3d-5680-48d6-8dcd-178a9cd0e1b0" providerId="ADAL" clId="{6635BE88-E622-4209-B003-D5FF412B30B6}" dt="2022-10-10T11:46:01.804" v="2412" actId="1035"/>
          <ac:spMkLst>
            <pc:docMk/>
            <pc:sldMk cId="2527682482" sldId="362"/>
            <ac:spMk id="6" creationId="{7813F110-99FB-D2F1-F9AB-3DE72570AA2C}"/>
          </ac:spMkLst>
        </pc:spChg>
        <pc:spChg chg="add mod">
          <ac:chgData name="Quan Nguyen - Y17" userId="fcceac3d-5680-48d6-8dcd-178a9cd0e1b0" providerId="ADAL" clId="{6635BE88-E622-4209-B003-D5FF412B30B6}" dt="2022-10-10T11:46:05.156" v="2418" actId="1035"/>
          <ac:spMkLst>
            <pc:docMk/>
            <pc:sldMk cId="2527682482" sldId="362"/>
            <ac:spMk id="9" creationId="{D4CDD98D-1FE0-0DE9-03DB-641A5AD82273}"/>
          </ac:spMkLst>
        </pc:spChg>
        <pc:spChg chg="add mod">
          <ac:chgData name="Quan Nguyen - Y17" userId="fcceac3d-5680-48d6-8dcd-178a9cd0e1b0" providerId="ADAL" clId="{6635BE88-E622-4209-B003-D5FF412B30B6}" dt="2022-10-10T11:45:47.315" v="2409" actId="1076"/>
          <ac:spMkLst>
            <pc:docMk/>
            <pc:sldMk cId="2527682482" sldId="362"/>
            <ac:spMk id="10" creationId="{1BAE5FA7-0C0E-61BB-9AAE-7491135784FC}"/>
          </ac:spMkLst>
        </pc:spChg>
        <pc:spChg chg="mod">
          <ac:chgData name="Quan Nguyen - Y17" userId="fcceac3d-5680-48d6-8dcd-178a9cd0e1b0" providerId="ADAL" clId="{6635BE88-E622-4209-B003-D5FF412B30B6}" dt="2022-10-10T11:36:52.467" v="2319" actId="1076"/>
          <ac:spMkLst>
            <pc:docMk/>
            <pc:sldMk cId="2527682482" sldId="362"/>
            <ac:spMk id="14" creationId="{75D937E8-ACE5-44B9-8289-4EA6EFF979B0}"/>
          </ac:spMkLst>
        </pc:spChg>
        <pc:spChg chg="ord">
          <ac:chgData name="Quan Nguyen - Y17" userId="fcceac3d-5680-48d6-8dcd-178a9cd0e1b0" providerId="ADAL" clId="{6635BE88-E622-4209-B003-D5FF412B30B6}" dt="2022-10-10T11:41:08.089" v="2376" actId="166"/>
          <ac:spMkLst>
            <pc:docMk/>
            <pc:sldMk cId="2527682482" sldId="362"/>
            <ac:spMk id="15" creationId="{ACE311CC-2A7E-4437-A2BA-54D6597BDD16}"/>
          </ac:spMkLst>
        </pc:spChg>
        <pc:grpChg chg="mod ord">
          <ac:chgData name="Quan Nguyen - Y17" userId="fcceac3d-5680-48d6-8dcd-178a9cd0e1b0" providerId="ADAL" clId="{6635BE88-E622-4209-B003-D5FF412B30B6}" dt="2022-10-10T11:38:02.883" v="2334" actId="1076"/>
          <ac:grpSpMkLst>
            <pc:docMk/>
            <pc:sldMk cId="2527682482" sldId="362"/>
            <ac:grpSpMk id="4" creationId="{82C04291-E69B-A1E6-2132-8CEE6B8B8E68}"/>
          </ac:grpSpMkLst>
        </pc:grpChg>
        <pc:grpChg chg="mod">
          <ac:chgData name="Quan Nguyen - Y17" userId="fcceac3d-5680-48d6-8dcd-178a9cd0e1b0" providerId="ADAL" clId="{6635BE88-E622-4209-B003-D5FF412B30B6}" dt="2022-10-10T11:36:48.460" v="2318" actId="1076"/>
          <ac:grpSpMkLst>
            <pc:docMk/>
            <pc:sldMk cId="2527682482" sldId="362"/>
            <ac:grpSpMk id="8" creationId="{0B08BBB2-D723-40AF-8467-E62CB87D54D3}"/>
          </ac:grpSpMkLst>
        </pc:grpChg>
        <pc:picChg chg="add mod">
          <ac:chgData name="Quan Nguyen - Y17" userId="fcceac3d-5680-48d6-8dcd-178a9cd0e1b0" providerId="ADAL" clId="{6635BE88-E622-4209-B003-D5FF412B30B6}" dt="2022-10-10T11:37:29.156" v="2327" actId="14100"/>
          <ac:picMkLst>
            <pc:docMk/>
            <pc:sldMk cId="2527682482" sldId="362"/>
            <ac:picMk id="7" creationId="{4089A5DE-A446-1D20-13CD-1318B002EE7C}"/>
          </ac:picMkLst>
        </pc:picChg>
      </pc:sldChg>
      <pc:sldChg chg="addSp delSp modSp add mod modAnim">
        <pc:chgData name="Quan Nguyen - Y17" userId="fcceac3d-5680-48d6-8dcd-178a9cd0e1b0" providerId="ADAL" clId="{6635BE88-E622-4209-B003-D5FF412B30B6}" dt="2022-10-10T11:45:31.364" v="2405" actId="1076"/>
        <pc:sldMkLst>
          <pc:docMk/>
          <pc:sldMk cId="2584289684" sldId="363"/>
        </pc:sldMkLst>
        <pc:spChg chg="mod">
          <ac:chgData name="Quan Nguyen - Y17" userId="fcceac3d-5680-48d6-8dcd-178a9cd0e1b0" providerId="ADAL" clId="{6635BE88-E622-4209-B003-D5FF412B30B6}" dt="2022-10-10T11:41:41.336" v="2382" actId="207"/>
          <ac:spMkLst>
            <pc:docMk/>
            <pc:sldMk cId="2584289684" sldId="363"/>
            <ac:spMk id="3" creationId="{46952FCB-E322-3CE4-E6BA-DA206D17AC4F}"/>
          </ac:spMkLst>
        </pc:spChg>
        <pc:spChg chg="add mod">
          <ac:chgData name="Quan Nguyen - Y17" userId="fcceac3d-5680-48d6-8dcd-178a9cd0e1b0" providerId="ADAL" clId="{6635BE88-E622-4209-B003-D5FF412B30B6}" dt="2022-10-10T11:45:31.364" v="2405" actId="1076"/>
          <ac:spMkLst>
            <pc:docMk/>
            <pc:sldMk cId="2584289684" sldId="363"/>
            <ac:spMk id="9" creationId="{B2222512-AD37-5472-994F-2CF10A99380B}"/>
          </ac:spMkLst>
        </pc:spChg>
        <pc:spChg chg="ord">
          <ac:chgData name="Quan Nguyen - Y17" userId="fcceac3d-5680-48d6-8dcd-178a9cd0e1b0" providerId="ADAL" clId="{6635BE88-E622-4209-B003-D5FF412B30B6}" dt="2022-10-10T11:41:47.017" v="2383" actId="166"/>
          <ac:spMkLst>
            <pc:docMk/>
            <pc:sldMk cId="2584289684" sldId="363"/>
            <ac:spMk id="15" creationId="{ACE311CC-2A7E-4437-A2BA-54D6597BDD16}"/>
          </ac:spMkLst>
        </pc:spChg>
        <pc:grpChg chg="mod">
          <ac:chgData name="Quan Nguyen - Y17" userId="fcceac3d-5680-48d6-8dcd-178a9cd0e1b0" providerId="ADAL" clId="{6635BE88-E622-4209-B003-D5FF412B30B6}" dt="2022-10-10T11:40:27.788" v="2369" actId="1076"/>
          <ac:grpSpMkLst>
            <pc:docMk/>
            <pc:sldMk cId="2584289684" sldId="363"/>
            <ac:grpSpMk id="185" creationId="{8ED9B3ED-7120-4603-8CCD-E00D81660B0D}"/>
          </ac:grpSpMkLst>
        </pc:grpChg>
        <pc:picChg chg="add mod">
          <ac:chgData name="Quan Nguyen - Y17" userId="fcceac3d-5680-48d6-8dcd-178a9cd0e1b0" providerId="ADAL" clId="{6635BE88-E622-4209-B003-D5FF412B30B6}" dt="2022-10-10T11:39:44.204" v="2348" actId="1076"/>
          <ac:picMkLst>
            <pc:docMk/>
            <pc:sldMk cId="2584289684" sldId="363"/>
            <ac:picMk id="2" creationId="{4F12086B-CDD6-7C66-57B3-E654E2154821}"/>
          </ac:picMkLst>
        </pc:picChg>
        <pc:picChg chg="del">
          <ac:chgData name="Quan Nguyen - Y17" userId="fcceac3d-5680-48d6-8dcd-178a9cd0e1b0" providerId="ADAL" clId="{6635BE88-E622-4209-B003-D5FF412B30B6}" dt="2022-10-10T11:39:21.750" v="2342" actId="478"/>
          <ac:picMkLst>
            <pc:docMk/>
            <pc:sldMk cId="2584289684" sldId="363"/>
            <ac:picMk id="7" creationId="{4089A5DE-A446-1D20-13CD-1318B002EE7C}"/>
          </ac:picMkLst>
        </pc:picChg>
      </pc:sldChg>
      <pc:sldChg chg="addSp delSp modSp add mod">
        <pc:chgData name="Quan Nguyen - Y17" userId="fcceac3d-5680-48d6-8dcd-178a9cd0e1b0" providerId="ADAL" clId="{6635BE88-E622-4209-B003-D5FF412B30B6}" dt="2022-10-10T11:42:41.851" v="2393" actId="1076"/>
        <pc:sldMkLst>
          <pc:docMk/>
          <pc:sldMk cId="4290629385" sldId="364"/>
        </pc:sldMkLst>
        <pc:spChg chg="del">
          <ac:chgData name="Quan Nguyen - Y17" userId="fcceac3d-5680-48d6-8dcd-178a9cd0e1b0" providerId="ADAL" clId="{6635BE88-E622-4209-B003-D5FF412B30B6}" dt="2022-10-10T11:42:22.875" v="2386" actId="478"/>
          <ac:spMkLst>
            <pc:docMk/>
            <pc:sldMk cId="4290629385" sldId="364"/>
            <ac:spMk id="2" creationId="{181BF466-675B-4C91-E945-C6343C6128B9}"/>
          </ac:spMkLst>
        </pc:spChg>
        <pc:spChg chg="mod">
          <ac:chgData name="Quan Nguyen - Y17" userId="fcceac3d-5680-48d6-8dcd-178a9cd0e1b0" providerId="ADAL" clId="{6635BE88-E622-4209-B003-D5FF412B30B6}" dt="2022-10-10T11:42:37.428" v="2391" actId="1076"/>
          <ac:spMkLst>
            <pc:docMk/>
            <pc:sldMk cId="4290629385" sldId="364"/>
            <ac:spMk id="14" creationId="{75D937E8-ACE5-44B9-8289-4EA6EFF979B0}"/>
          </ac:spMkLst>
        </pc:spChg>
        <pc:grpChg chg="del">
          <ac:chgData name="Quan Nguyen - Y17" userId="fcceac3d-5680-48d6-8dcd-178a9cd0e1b0" providerId="ADAL" clId="{6635BE88-E622-4209-B003-D5FF412B30B6}" dt="2022-10-10T11:42:25.865" v="2387" actId="478"/>
          <ac:grpSpMkLst>
            <pc:docMk/>
            <pc:sldMk cId="4290629385" sldId="364"/>
            <ac:grpSpMk id="4" creationId="{82C04291-E69B-A1E6-2132-8CEE6B8B8E68}"/>
          </ac:grpSpMkLst>
        </pc:grpChg>
        <pc:grpChg chg="mod">
          <ac:chgData name="Quan Nguyen - Y17" userId="fcceac3d-5680-48d6-8dcd-178a9cd0e1b0" providerId="ADAL" clId="{6635BE88-E622-4209-B003-D5FF412B30B6}" dt="2022-10-10T11:42:32.611" v="2390" actId="1076"/>
          <ac:grpSpMkLst>
            <pc:docMk/>
            <pc:sldMk cId="4290629385" sldId="364"/>
            <ac:grpSpMk id="8" creationId="{0B08BBB2-D723-40AF-8467-E62CB87D54D3}"/>
          </ac:grpSpMkLst>
        </pc:grpChg>
        <pc:picChg chg="add mod">
          <ac:chgData name="Quan Nguyen - Y17" userId="fcceac3d-5680-48d6-8dcd-178a9cd0e1b0" providerId="ADAL" clId="{6635BE88-E622-4209-B003-D5FF412B30B6}" dt="2022-10-10T11:42:40.211" v="2392" actId="1076"/>
          <ac:picMkLst>
            <pc:docMk/>
            <pc:sldMk cId="4290629385" sldId="364"/>
            <ac:picMk id="3" creationId="{7833F102-6B85-C06C-F9BC-02878BCA3002}"/>
          </ac:picMkLst>
        </pc:picChg>
        <pc:picChg chg="add mod">
          <ac:chgData name="Quan Nguyen - Y17" userId="fcceac3d-5680-48d6-8dcd-178a9cd0e1b0" providerId="ADAL" clId="{6635BE88-E622-4209-B003-D5FF412B30B6}" dt="2022-10-10T11:42:41.851" v="2393" actId="1076"/>
          <ac:picMkLst>
            <pc:docMk/>
            <pc:sldMk cId="4290629385" sldId="364"/>
            <ac:picMk id="7" creationId="{5A80ECEA-000F-81FA-372B-3CFB20146630}"/>
          </ac:picMkLst>
        </pc:picChg>
      </pc:sldChg>
      <pc:sldChg chg="addSp modSp add mod modNotesTx">
        <pc:chgData name="Quan Nguyen - Y17" userId="fcceac3d-5680-48d6-8dcd-178a9cd0e1b0" providerId="ADAL" clId="{6635BE88-E622-4209-B003-D5FF412B30B6}" dt="2022-10-10T11:46:22.947" v="2419"/>
        <pc:sldMkLst>
          <pc:docMk/>
          <pc:sldMk cId="1190177504" sldId="365"/>
        </pc:sldMkLst>
        <pc:spChg chg="mod">
          <ac:chgData name="Quan Nguyen - Y17" userId="fcceac3d-5680-48d6-8dcd-178a9cd0e1b0" providerId="ADAL" clId="{6635BE88-E622-4209-B003-D5FF412B30B6}" dt="2022-10-10T11:43:48.421" v="2400" actId="14100"/>
          <ac:spMkLst>
            <pc:docMk/>
            <pc:sldMk cId="1190177504" sldId="365"/>
            <ac:spMk id="2" creationId="{181BF466-675B-4C91-E945-C6343C6128B9}"/>
          </ac:spMkLst>
        </pc:spChg>
        <pc:spChg chg="add mod">
          <ac:chgData name="Quan Nguyen - Y17" userId="fcceac3d-5680-48d6-8dcd-178a9cd0e1b0" providerId="ADAL" clId="{6635BE88-E622-4209-B003-D5FF412B30B6}" dt="2022-10-10T11:45:16.204" v="2403" actId="1076"/>
          <ac:spMkLst>
            <pc:docMk/>
            <pc:sldMk cId="1190177504" sldId="365"/>
            <ac:spMk id="3" creationId="{312F46FB-05E2-7C41-63A5-C464107D8AD2}"/>
          </ac:spMkLst>
        </pc:spChg>
        <pc:grpChg chg="mod">
          <ac:chgData name="Quan Nguyen - Y17" userId="fcceac3d-5680-48d6-8dcd-178a9cd0e1b0" providerId="ADAL" clId="{6635BE88-E622-4209-B003-D5FF412B30B6}" dt="2022-10-10T11:43:37.292" v="2399" actId="1076"/>
          <ac:grpSpMkLst>
            <pc:docMk/>
            <pc:sldMk cId="1190177504" sldId="365"/>
            <ac:grpSpMk id="4" creationId="{82C04291-E69B-A1E6-2132-8CEE6B8B8E68}"/>
          </ac:grpSpMkLst>
        </pc:grpChg>
      </pc:sldChg>
      <pc:sldChg chg="addSp modSp add mod modNotesTx">
        <pc:chgData name="Quan Nguyen - Y17" userId="fcceac3d-5680-48d6-8dcd-178a9cd0e1b0" providerId="ADAL" clId="{6635BE88-E622-4209-B003-D5FF412B30B6}" dt="2022-10-11T13:09:43.544" v="4282" actId="14100"/>
        <pc:sldMkLst>
          <pc:docMk/>
          <pc:sldMk cId="3979502520" sldId="366"/>
        </pc:sldMkLst>
        <pc:spChg chg="mod">
          <ac:chgData name="Quan Nguyen - Y17" userId="fcceac3d-5680-48d6-8dcd-178a9cd0e1b0" providerId="ADAL" clId="{6635BE88-E622-4209-B003-D5FF412B30B6}" dt="2022-10-10T11:46:47.677" v="2422"/>
          <ac:spMkLst>
            <pc:docMk/>
            <pc:sldMk cId="3979502520" sldId="366"/>
            <ac:spMk id="3" creationId="{A324DD9C-4241-E3B8-B3F3-2A31F83061AE}"/>
          </ac:spMkLst>
        </pc:spChg>
        <pc:spChg chg="mod">
          <ac:chgData name="Quan Nguyen - Y17" userId="fcceac3d-5680-48d6-8dcd-178a9cd0e1b0" providerId="ADAL" clId="{6635BE88-E622-4209-B003-D5FF412B30B6}" dt="2022-10-10T11:46:47.677" v="2422"/>
          <ac:spMkLst>
            <pc:docMk/>
            <pc:sldMk cId="3979502520" sldId="366"/>
            <ac:spMk id="4" creationId="{32E8F814-0458-829B-8573-4419BAC8D625}"/>
          </ac:spMkLst>
        </pc:spChg>
        <pc:spChg chg="add mod ord">
          <ac:chgData name="Quan Nguyen - Y17" userId="fcceac3d-5680-48d6-8dcd-178a9cd0e1b0" providerId="ADAL" clId="{6635BE88-E622-4209-B003-D5FF412B30B6}" dt="2022-10-10T11:49:03.063" v="2446" actId="115"/>
          <ac:spMkLst>
            <pc:docMk/>
            <pc:sldMk cId="3979502520" sldId="366"/>
            <ac:spMk id="5" creationId="{AF7578C2-7525-F73D-AF49-31910363CE5F}"/>
          </ac:spMkLst>
        </pc:spChg>
        <pc:spChg chg="mod">
          <ac:chgData name="Quan Nguyen - Y17" userId="fcceac3d-5680-48d6-8dcd-178a9cd0e1b0" providerId="ADAL" clId="{6635BE88-E622-4209-B003-D5FF412B30B6}" dt="2022-10-10T11:47:38.942" v="2433"/>
          <ac:spMkLst>
            <pc:docMk/>
            <pc:sldMk cId="3979502520" sldId="366"/>
            <ac:spMk id="8" creationId="{2240C3FA-17DE-7475-DCB8-52213EF52A46}"/>
          </ac:spMkLst>
        </pc:spChg>
        <pc:spChg chg="add mod">
          <ac:chgData name="Quan Nguyen - Y17" userId="fcceac3d-5680-48d6-8dcd-178a9cd0e1b0" providerId="ADAL" clId="{6635BE88-E622-4209-B003-D5FF412B30B6}" dt="2022-10-10T11:49:44.228" v="2453" actId="1076"/>
          <ac:spMkLst>
            <pc:docMk/>
            <pc:sldMk cId="3979502520" sldId="366"/>
            <ac:spMk id="10" creationId="{EB57D843-0251-311F-C69C-24E6CE2D38F5}"/>
          </ac:spMkLst>
        </pc:spChg>
        <pc:spChg chg="add mod">
          <ac:chgData name="Quan Nguyen - Y17" userId="fcceac3d-5680-48d6-8dcd-178a9cd0e1b0" providerId="ADAL" clId="{6635BE88-E622-4209-B003-D5FF412B30B6}" dt="2022-10-10T11:51:02.460" v="2461" actId="1076"/>
          <ac:spMkLst>
            <pc:docMk/>
            <pc:sldMk cId="3979502520" sldId="366"/>
            <ac:spMk id="11" creationId="{ED863153-EA6F-AF37-6E4E-42B2447C8187}"/>
          </ac:spMkLst>
        </pc:spChg>
        <pc:spChg chg="mod">
          <ac:chgData name="Quan Nguyen - Y17" userId="fcceac3d-5680-48d6-8dcd-178a9cd0e1b0" providerId="ADAL" clId="{6635BE88-E622-4209-B003-D5FF412B30B6}" dt="2022-10-11T13:09:43.544" v="4282" actId="14100"/>
          <ac:spMkLst>
            <pc:docMk/>
            <pc:sldMk cId="3979502520" sldId="366"/>
            <ac:spMk id="24" creationId="{8528E6BF-039B-40A0-83F3-061F667D2490}"/>
          </ac:spMkLst>
        </pc:spChg>
        <pc:grpChg chg="add mod">
          <ac:chgData name="Quan Nguyen - Y17" userId="fcceac3d-5680-48d6-8dcd-178a9cd0e1b0" providerId="ADAL" clId="{6635BE88-E622-4209-B003-D5FF412B30B6}" dt="2022-10-10T11:46:47.677" v="2422"/>
          <ac:grpSpMkLst>
            <pc:docMk/>
            <pc:sldMk cId="3979502520" sldId="366"/>
            <ac:grpSpMk id="2" creationId="{844A8B21-4E0B-F113-5904-3BD3FC761BD2}"/>
          </ac:grpSpMkLst>
        </pc:grpChg>
        <pc:grpChg chg="add mod">
          <ac:chgData name="Quan Nguyen - Y17" userId="fcceac3d-5680-48d6-8dcd-178a9cd0e1b0" providerId="ADAL" clId="{6635BE88-E622-4209-B003-D5FF412B30B6}" dt="2022-10-10T11:47:44.627" v="2434" actId="1076"/>
          <ac:grpSpMkLst>
            <pc:docMk/>
            <pc:sldMk cId="3979502520" sldId="366"/>
            <ac:grpSpMk id="6" creationId="{39C49E6D-3CE4-A5ED-69F2-6501733A8BB4}"/>
          </ac:grpSpMkLst>
        </pc:grpChg>
        <pc:cxnChg chg="mod">
          <ac:chgData name="Quan Nguyen - Y17" userId="fcceac3d-5680-48d6-8dcd-178a9cd0e1b0" providerId="ADAL" clId="{6635BE88-E622-4209-B003-D5FF412B30B6}" dt="2022-10-10T11:47:56.467" v="2435" actId="14100"/>
          <ac:cxnSpMkLst>
            <pc:docMk/>
            <pc:sldMk cId="3979502520" sldId="366"/>
            <ac:cxnSpMk id="7" creationId="{94365525-32F7-49AD-F938-D5D24335C8F5}"/>
          </ac:cxnSpMkLst>
        </pc:cxnChg>
      </pc:sldChg>
      <pc:sldChg chg="addSp modSp add mod">
        <pc:chgData name="Quan Nguyen - Y17" userId="fcceac3d-5680-48d6-8dcd-178a9cd0e1b0" providerId="ADAL" clId="{6635BE88-E622-4209-B003-D5FF412B30B6}" dt="2022-10-10T11:53:04.572" v="2474" actId="14100"/>
        <pc:sldMkLst>
          <pc:docMk/>
          <pc:sldMk cId="2328650505" sldId="367"/>
        </pc:sldMkLst>
        <pc:spChg chg="mod">
          <ac:chgData name="Quan Nguyen - Y17" userId="fcceac3d-5680-48d6-8dcd-178a9cd0e1b0" providerId="ADAL" clId="{6635BE88-E622-4209-B003-D5FF412B30B6}" dt="2022-10-10T11:50:13.073" v="2457" actId="14100"/>
          <ac:spMkLst>
            <pc:docMk/>
            <pc:sldMk cId="2328650505" sldId="367"/>
            <ac:spMk id="5" creationId="{AF7578C2-7525-F73D-AF49-31910363CE5F}"/>
          </ac:spMkLst>
        </pc:spChg>
        <pc:spChg chg="add mod">
          <ac:chgData name="Quan Nguyen - Y17" userId="fcceac3d-5680-48d6-8dcd-178a9cd0e1b0" providerId="ADAL" clId="{6635BE88-E622-4209-B003-D5FF412B30B6}" dt="2022-10-10T11:51:22.783" v="2462"/>
          <ac:spMkLst>
            <pc:docMk/>
            <pc:sldMk cId="2328650505" sldId="367"/>
            <ac:spMk id="10" creationId="{73431C45-63BC-8708-1BFE-ED18A82E24C7}"/>
          </ac:spMkLst>
        </pc:spChg>
        <pc:spChg chg="mod">
          <ac:chgData name="Quan Nguyen - Y17" userId="fcceac3d-5680-48d6-8dcd-178a9cd0e1b0" providerId="ADAL" clId="{6635BE88-E622-4209-B003-D5FF412B30B6}" dt="2022-10-10T11:51:39.390" v="2463"/>
          <ac:spMkLst>
            <pc:docMk/>
            <pc:sldMk cId="2328650505" sldId="367"/>
            <ac:spMk id="12" creationId="{92712897-2068-43CC-966F-C9CC09E9B1AA}"/>
          </ac:spMkLst>
        </pc:spChg>
        <pc:spChg chg="mod">
          <ac:chgData name="Quan Nguyen - Y17" userId="fcceac3d-5680-48d6-8dcd-178a9cd0e1b0" providerId="ADAL" clId="{6635BE88-E622-4209-B003-D5FF412B30B6}" dt="2022-10-10T11:51:39.390" v="2463"/>
          <ac:spMkLst>
            <pc:docMk/>
            <pc:sldMk cId="2328650505" sldId="367"/>
            <ac:spMk id="17" creationId="{0B3A5890-BEB9-BD93-5694-0A867B89AE99}"/>
          </ac:spMkLst>
        </pc:spChg>
        <pc:spChg chg="mod">
          <ac:chgData name="Quan Nguyen - Y17" userId="fcceac3d-5680-48d6-8dcd-178a9cd0e1b0" providerId="ADAL" clId="{6635BE88-E622-4209-B003-D5FF412B30B6}" dt="2022-10-10T11:51:39.390" v="2463"/>
          <ac:spMkLst>
            <pc:docMk/>
            <pc:sldMk cId="2328650505" sldId="367"/>
            <ac:spMk id="18" creationId="{2B346F81-EA12-9F1A-305C-F3550FE2FF3E}"/>
          </ac:spMkLst>
        </pc:spChg>
        <pc:spChg chg="mod">
          <ac:chgData name="Quan Nguyen - Y17" userId="fcceac3d-5680-48d6-8dcd-178a9cd0e1b0" providerId="ADAL" clId="{6635BE88-E622-4209-B003-D5FF412B30B6}" dt="2022-10-10T11:51:39.390" v="2463"/>
          <ac:spMkLst>
            <pc:docMk/>
            <pc:sldMk cId="2328650505" sldId="367"/>
            <ac:spMk id="19" creationId="{11B95E17-19D2-ED29-6661-22DE4FE2B3DF}"/>
          </ac:spMkLst>
        </pc:spChg>
        <pc:spChg chg="mod">
          <ac:chgData name="Quan Nguyen - Y17" userId="fcceac3d-5680-48d6-8dcd-178a9cd0e1b0" providerId="ADAL" clId="{6635BE88-E622-4209-B003-D5FF412B30B6}" dt="2022-10-10T11:51:39.390" v="2463"/>
          <ac:spMkLst>
            <pc:docMk/>
            <pc:sldMk cId="2328650505" sldId="367"/>
            <ac:spMk id="21" creationId="{740E6C0B-C273-7FEE-45CA-9EEEF32018A1}"/>
          </ac:spMkLst>
        </pc:spChg>
        <pc:spChg chg="mod">
          <ac:chgData name="Quan Nguyen - Y17" userId="fcceac3d-5680-48d6-8dcd-178a9cd0e1b0" providerId="ADAL" clId="{6635BE88-E622-4209-B003-D5FF412B30B6}" dt="2022-10-10T11:51:39.390" v="2463"/>
          <ac:spMkLst>
            <pc:docMk/>
            <pc:sldMk cId="2328650505" sldId="367"/>
            <ac:spMk id="26" creationId="{B85804EF-A90F-737D-1215-4FA57BF092E6}"/>
          </ac:spMkLst>
        </pc:spChg>
        <pc:spChg chg="mod">
          <ac:chgData name="Quan Nguyen - Y17" userId="fcceac3d-5680-48d6-8dcd-178a9cd0e1b0" providerId="ADAL" clId="{6635BE88-E622-4209-B003-D5FF412B30B6}" dt="2022-10-10T11:51:39.390" v="2463"/>
          <ac:spMkLst>
            <pc:docMk/>
            <pc:sldMk cId="2328650505" sldId="367"/>
            <ac:spMk id="27" creationId="{083E607D-21DD-4B6E-1E8A-2764639EA2B1}"/>
          </ac:spMkLst>
        </pc:spChg>
        <pc:spChg chg="mod">
          <ac:chgData name="Quan Nguyen - Y17" userId="fcceac3d-5680-48d6-8dcd-178a9cd0e1b0" providerId="ADAL" clId="{6635BE88-E622-4209-B003-D5FF412B30B6}" dt="2022-10-10T11:51:39.390" v="2463"/>
          <ac:spMkLst>
            <pc:docMk/>
            <pc:sldMk cId="2328650505" sldId="367"/>
            <ac:spMk id="28" creationId="{6E026DFA-18B7-D534-FAC5-3621855F3FF3}"/>
          </ac:spMkLst>
        </pc:spChg>
        <pc:spChg chg="mod">
          <ac:chgData name="Quan Nguyen - Y17" userId="fcceac3d-5680-48d6-8dcd-178a9cd0e1b0" providerId="ADAL" clId="{6635BE88-E622-4209-B003-D5FF412B30B6}" dt="2022-10-10T11:51:39.390" v="2463"/>
          <ac:spMkLst>
            <pc:docMk/>
            <pc:sldMk cId="2328650505" sldId="367"/>
            <ac:spMk id="29" creationId="{D0E7D1B9-E66E-CA8E-87A4-8EB42E25743B}"/>
          </ac:spMkLst>
        </pc:spChg>
        <pc:spChg chg="mod">
          <ac:chgData name="Quan Nguyen - Y17" userId="fcceac3d-5680-48d6-8dcd-178a9cd0e1b0" providerId="ADAL" clId="{6635BE88-E622-4209-B003-D5FF412B30B6}" dt="2022-10-10T11:51:39.390" v="2463"/>
          <ac:spMkLst>
            <pc:docMk/>
            <pc:sldMk cId="2328650505" sldId="367"/>
            <ac:spMk id="30" creationId="{CE29EC29-101B-6F19-FB2B-E32D1C51DA46}"/>
          </ac:spMkLst>
        </pc:spChg>
        <pc:spChg chg="mod">
          <ac:chgData name="Quan Nguyen - Y17" userId="fcceac3d-5680-48d6-8dcd-178a9cd0e1b0" providerId="ADAL" clId="{6635BE88-E622-4209-B003-D5FF412B30B6}" dt="2022-10-10T11:51:39.390" v="2463"/>
          <ac:spMkLst>
            <pc:docMk/>
            <pc:sldMk cId="2328650505" sldId="367"/>
            <ac:spMk id="31" creationId="{DC5225BE-E205-818D-6494-D4DFAD237ED2}"/>
          </ac:spMkLst>
        </pc:spChg>
        <pc:spChg chg="mod">
          <ac:chgData name="Quan Nguyen - Y17" userId="fcceac3d-5680-48d6-8dcd-178a9cd0e1b0" providerId="ADAL" clId="{6635BE88-E622-4209-B003-D5FF412B30B6}" dt="2022-10-10T11:51:39.390" v="2463"/>
          <ac:spMkLst>
            <pc:docMk/>
            <pc:sldMk cId="2328650505" sldId="367"/>
            <ac:spMk id="32" creationId="{E940DBFF-B5A8-34FA-A287-8A1CDB8C8DF7}"/>
          </ac:spMkLst>
        </pc:spChg>
        <pc:spChg chg="mod">
          <ac:chgData name="Quan Nguyen - Y17" userId="fcceac3d-5680-48d6-8dcd-178a9cd0e1b0" providerId="ADAL" clId="{6635BE88-E622-4209-B003-D5FF412B30B6}" dt="2022-10-10T11:51:39.390" v="2463"/>
          <ac:spMkLst>
            <pc:docMk/>
            <pc:sldMk cId="2328650505" sldId="367"/>
            <ac:spMk id="33" creationId="{54468BEF-E9D7-F99B-F1E2-3B85D13A0F42}"/>
          </ac:spMkLst>
        </pc:spChg>
        <pc:spChg chg="mod">
          <ac:chgData name="Quan Nguyen - Y17" userId="fcceac3d-5680-48d6-8dcd-178a9cd0e1b0" providerId="ADAL" clId="{6635BE88-E622-4209-B003-D5FF412B30B6}" dt="2022-10-10T11:51:39.390" v="2463"/>
          <ac:spMkLst>
            <pc:docMk/>
            <pc:sldMk cId="2328650505" sldId="367"/>
            <ac:spMk id="34" creationId="{F048B293-DE50-F746-BCFD-AA5640BDCA93}"/>
          </ac:spMkLst>
        </pc:spChg>
        <pc:spChg chg="mod">
          <ac:chgData name="Quan Nguyen - Y17" userId="fcceac3d-5680-48d6-8dcd-178a9cd0e1b0" providerId="ADAL" clId="{6635BE88-E622-4209-B003-D5FF412B30B6}" dt="2022-10-10T11:51:39.390" v="2463"/>
          <ac:spMkLst>
            <pc:docMk/>
            <pc:sldMk cId="2328650505" sldId="367"/>
            <ac:spMk id="35" creationId="{0D00340B-B6A6-236A-6644-E21E2776B446}"/>
          </ac:spMkLst>
        </pc:spChg>
        <pc:spChg chg="mod">
          <ac:chgData name="Quan Nguyen - Y17" userId="fcceac3d-5680-48d6-8dcd-178a9cd0e1b0" providerId="ADAL" clId="{6635BE88-E622-4209-B003-D5FF412B30B6}" dt="2022-10-10T11:51:39.390" v="2463"/>
          <ac:spMkLst>
            <pc:docMk/>
            <pc:sldMk cId="2328650505" sldId="367"/>
            <ac:spMk id="36" creationId="{A0D7847F-1711-7487-4CE0-D00B382E71E3}"/>
          </ac:spMkLst>
        </pc:spChg>
        <pc:spChg chg="mod">
          <ac:chgData name="Quan Nguyen - Y17" userId="fcceac3d-5680-48d6-8dcd-178a9cd0e1b0" providerId="ADAL" clId="{6635BE88-E622-4209-B003-D5FF412B30B6}" dt="2022-10-10T11:51:39.390" v="2463"/>
          <ac:spMkLst>
            <pc:docMk/>
            <pc:sldMk cId="2328650505" sldId="367"/>
            <ac:spMk id="37" creationId="{F782A4B6-45E4-4005-94CF-B16AB748D031}"/>
          </ac:spMkLst>
        </pc:spChg>
        <pc:spChg chg="mod">
          <ac:chgData name="Quan Nguyen - Y17" userId="fcceac3d-5680-48d6-8dcd-178a9cd0e1b0" providerId="ADAL" clId="{6635BE88-E622-4209-B003-D5FF412B30B6}" dt="2022-10-10T11:51:39.390" v="2463"/>
          <ac:spMkLst>
            <pc:docMk/>
            <pc:sldMk cId="2328650505" sldId="367"/>
            <ac:spMk id="38" creationId="{9502C72C-4284-4D13-20C5-5604C235680D}"/>
          </ac:spMkLst>
        </pc:spChg>
        <pc:spChg chg="mod">
          <ac:chgData name="Quan Nguyen - Y17" userId="fcceac3d-5680-48d6-8dcd-178a9cd0e1b0" providerId="ADAL" clId="{6635BE88-E622-4209-B003-D5FF412B30B6}" dt="2022-10-10T11:51:39.390" v="2463"/>
          <ac:spMkLst>
            <pc:docMk/>
            <pc:sldMk cId="2328650505" sldId="367"/>
            <ac:spMk id="39" creationId="{223F9090-05D0-9CEE-7804-753348B320D3}"/>
          </ac:spMkLst>
        </pc:spChg>
        <pc:spChg chg="mod">
          <ac:chgData name="Quan Nguyen - Y17" userId="fcceac3d-5680-48d6-8dcd-178a9cd0e1b0" providerId="ADAL" clId="{6635BE88-E622-4209-B003-D5FF412B30B6}" dt="2022-10-10T11:51:39.390" v="2463"/>
          <ac:spMkLst>
            <pc:docMk/>
            <pc:sldMk cId="2328650505" sldId="367"/>
            <ac:spMk id="40" creationId="{87C38AFB-ADD1-0E8F-3248-DE8E033A5394}"/>
          </ac:spMkLst>
        </pc:spChg>
        <pc:spChg chg="mod">
          <ac:chgData name="Quan Nguyen - Y17" userId="fcceac3d-5680-48d6-8dcd-178a9cd0e1b0" providerId="ADAL" clId="{6635BE88-E622-4209-B003-D5FF412B30B6}" dt="2022-10-10T11:51:39.390" v="2463"/>
          <ac:spMkLst>
            <pc:docMk/>
            <pc:sldMk cId="2328650505" sldId="367"/>
            <ac:spMk id="41" creationId="{C9951E88-587E-C728-D10A-CFD240A64AD4}"/>
          </ac:spMkLst>
        </pc:spChg>
        <pc:spChg chg="mod">
          <ac:chgData name="Quan Nguyen - Y17" userId="fcceac3d-5680-48d6-8dcd-178a9cd0e1b0" providerId="ADAL" clId="{6635BE88-E622-4209-B003-D5FF412B30B6}" dt="2022-10-10T11:51:39.390" v="2463"/>
          <ac:spMkLst>
            <pc:docMk/>
            <pc:sldMk cId="2328650505" sldId="367"/>
            <ac:spMk id="42" creationId="{460BB18F-759F-CBE5-9E46-8D0374D412C3}"/>
          </ac:spMkLst>
        </pc:spChg>
        <pc:spChg chg="mod">
          <ac:chgData name="Quan Nguyen - Y17" userId="fcceac3d-5680-48d6-8dcd-178a9cd0e1b0" providerId="ADAL" clId="{6635BE88-E622-4209-B003-D5FF412B30B6}" dt="2022-10-10T11:51:39.390" v="2463"/>
          <ac:spMkLst>
            <pc:docMk/>
            <pc:sldMk cId="2328650505" sldId="367"/>
            <ac:spMk id="43" creationId="{8E41170C-28C9-9FD1-CE23-0C1555B3611E}"/>
          </ac:spMkLst>
        </pc:spChg>
        <pc:spChg chg="mod">
          <ac:chgData name="Quan Nguyen - Y17" userId="fcceac3d-5680-48d6-8dcd-178a9cd0e1b0" providerId="ADAL" clId="{6635BE88-E622-4209-B003-D5FF412B30B6}" dt="2022-10-10T11:51:39.390" v="2463"/>
          <ac:spMkLst>
            <pc:docMk/>
            <pc:sldMk cId="2328650505" sldId="367"/>
            <ac:spMk id="44" creationId="{7DDB7A03-5203-9E16-E40B-3C4EB82CA994}"/>
          </ac:spMkLst>
        </pc:spChg>
        <pc:spChg chg="mod">
          <ac:chgData name="Quan Nguyen - Y17" userId="fcceac3d-5680-48d6-8dcd-178a9cd0e1b0" providerId="ADAL" clId="{6635BE88-E622-4209-B003-D5FF412B30B6}" dt="2022-10-10T11:51:39.390" v="2463"/>
          <ac:spMkLst>
            <pc:docMk/>
            <pc:sldMk cId="2328650505" sldId="367"/>
            <ac:spMk id="45" creationId="{6E9FD086-9BCC-141A-4844-AAC89DB859D9}"/>
          </ac:spMkLst>
        </pc:spChg>
        <pc:spChg chg="mod">
          <ac:chgData name="Quan Nguyen - Y17" userId="fcceac3d-5680-48d6-8dcd-178a9cd0e1b0" providerId="ADAL" clId="{6635BE88-E622-4209-B003-D5FF412B30B6}" dt="2022-10-10T11:51:39.390" v="2463"/>
          <ac:spMkLst>
            <pc:docMk/>
            <pc:sldMk cId="2328650505" sldId="367"/>
            <ac:spMk id="46" creationId="{F247DA30-C993-0FC9-76BF-18183E9CF79B}"/>
          </ac:spMkLst>
        </pc:spChg>
        <pc:spChg chg="mod">
          <ac:chgData name="Quan Nguyen - Y17" userId="fcceac3d-5680-48d6-8dcd-178a9cd0e1b0" providerId="ADAL" clId="{6635BE88-E622-4209-B003-D5FF412B30B6}" dt="2022-10-10T11:51:39.390" v="2463"/>
          <ac:spMkLst>
            <pc:docMk/>
            <pc:sldMk cId="2328650505" sldId="367"/>
            <ac:spMk id="47" creationId="{DEC488AF-CB20-8C9E-B369-79ECE768E0E3}"/>
          </ac:spMkLst>
        </pc:spChg>
        <pc:spChg chg="mod">
          <ac:chgData name="Quan Nguyen - Y17" userId="fcceac3d-5680-48d6-8dcd-178a9cd0e1b0" providerId="ADAL" clId="{6635BE88-E622-4209-B003-D5FF412B30B6}" dt="2022-10-10T11:51:39.390" v="2463"/>
          <ac:spMkLst>
            <pc:docMk/>
            <pc:sldMk cId="2328650505" sldId="367"/>
            <ac:spMk id="48" creationId="{4C3DAC30-3B49-A26D-D55A-FA22E88C2D42}"/>
          </ac:spMkLst>
        </pc:spChg>
        <pc:spChg chg="mod">
          <ac:chgData name="Quan Nguyen - Y17" userId="fcceac3d-5680-48d6-8dcd-178a9cd0e1b0" providerId="ADAL" clId="{6635BE88-E622-4209-B003-D5FF412B30B6}" dt="2022-10-10T11:51:39.390" v="2463"/>
          <ac:spMkLst>
            <pc:docMk/>
            <pc:sldMk cId="2328650505" sldId="367"/>
            <ac:spMk id="49" creationId="{B33AF0E0-8FA3-51E9-37D2-1707A0351F9A}"/>
          </ac:spMkLst>
        </pc:spChg>
        <pc:spChg chg="mod">
          <ac:chgData name="Quan Nguyen - Y17" userId="fcceac3d-5680-48d6-8dcd-178a9cd0e1b0" providerId="ADAL" clId="{6635BE88-E622-4209-B003-D5FF412B30B6}" dt="2022-10-10T11:51:39.390" v="2463"/>
          <ac:spMkLst>
            <pc:docMk/>
            <pc:sldMk cId="2328650505" sldId="367"/>
            <ac:spMk id="50" creationId="{CDB88ABF-A849-E037-F583-587917828AD9}"/>
          </ac:spMkLst>
        </pc:spChg>
        <pc:spChg chg="mod">
          <ac:chgData name="Quan Nguyen - Y17" userId="fcceac3d-5680-48d6-8dcd-178a9cd0e1b0" providerId="ADAL" clId="{6635BE88-E622-4209-B003-D5FF412B30B6}" dt="2022-10-10T11:51:39.390" v="2463"/>
          <ac:spMkLst>
            <pc:docMk/>
            <pc:sldMk cId="2328650505" sldId="367"/>
            <ac:spMk id="51" creationId="{C9563058-E0C2-1AEC-04B0-BE8824C1A538}"/>
          </ac:spMkLst>
        </pc:spChg>
        <pc:spChg chg="mod">
          <ac:chgData name="Quan Nguyen - Y17" userId="fcceac3d-5680-48d6-8dcd-178a9cd0e1b0" providerId="ADAL" clId="{6635BE88-E622-4209-B003-D5FF412B30B6}" dt="2022-10-10T11:51:39.390" v="2463"/>
          <ac:spMkLst>
            <pc:docMk/>
            <pc:sldMk cId="2328650505" sldId="367"/>
            <ac:spMk id="52" creationId="{3663F291-5F53-4BDE-A6B5-F518B2A4DCC9}"/>
          </ac:spMkLst>
        </pc:spChg>
        <pc:spChg chg="mod">
          <ac:chgData name="Quan Nguyen - Y17" userId="fcceac3d-5680-48d6-8dcd-178a9cd0e1b0" providerId="ADAL" clId="{6635BE88-E622-4209-B003-D5FF412B30B6}" dt="2022-10-10T11:51:39.390" v="2463"/>
          <ac:spMkLst>
            <pc:docMk/>
            <pc:sldMk cId="2328650505" sldId="367"/>
            <ac:spMk id="53" creationId="{66B4BC60-68A9-6761-7C90-1046AD663367}"/>
          </ac:spMkLst>
        </pc:spChg>
        <pc:spChg chg="mod">
          <ac:chgData name="Quan Nguyen - Y17" userId="fcceac3d-5680-48d6-8dcd-178a9cd0e1b0" providerId="ADAL" clId="{6635BE88-E622-4209-B003-D5FF412B30B6}" dt="2022-10-10T11:51:39.390" v="2463"/>
          <ac:spMkLst>
            <pc:docMk/>
            <pc:sldMk cId="2328650505" sldId="367"/>
            <ac:spMk id="54" creationId="{6A629EFF-9176-EA6A-85DF-1D1E28D5A9FC}"/>
          </ac:spMkLst>
        </pc:spChg>
        <pc:spChg chg="mod">
          <ac:chgData name="Quan Nguyen - Y17" userId="fcceac3d-5680-48d6-8dcd-178a9cd0e1b0" providerId="ADAL" clId="{6635BE88-E622-4209-B003-D5FF412B30B6}" dt="2022-10-10T11:51:39.390" v="2463"/>
          <ac:spMkLst>
            <pc:docMk/>
            <pc:sldMk cId="2328650505" sldId="367"/>
            <ac:spMk id="55" creationId="{52DE912A-07FB-348A-7D54-B7B6D2DAD46B}"/>
          </ac:spMkLst>
        </pc:spChg>
        <pc:spChg chg="mod">
          <ac:chgData name="Quan Nguyen - Y17" userId="fcceac3d-5680-48d6-8dcd-178a9cd0e1b0" providerId="ADAL" clId="{6635BE88-E622-4209-B003-D5FF412B30B6}" dt="2022-10-10T11:51:39.390" v="2463"/>
          <ac:spMkLst>
            <pc:docMk/>
            <pc:sldMk cId="2328650505" sldId="367"/>
            <ac:spMk id="56" creationId="{4FB21480-CA80-A181-4F72-48795ECAA1DA}"/>
          </ac:spMkLst>
        </pc:spChg>
        <pc:spChg chg="mod">
          <ac:chgData name="Quan Nguyen - Y17" userId="fcceac3d-5680-48d6-8dcd-178a9cd0e1b0" providerId="ADAL" clId="{6635BE88-E622-4209-B003-D5FF412B30B6}" dt="2022-10-10T11:51:39.390" v="2463"/>
          <ac:spMkLst>
            <pc:docMk/>
            <pc:sldMk cId="2328650505" sldId="367"/>
            <ac:spMk id="57" creationId="{F0B2674A-3A82-7C7D-A053-62C68790169E}"/>
          </ac:spMkLst>
        </pc:spChg>
        <pc:spChg chg="mod">
          <ac:chgData name="Quan Nguyen - Y17" userId="fcceac3d-5680-48d6-8dcd-178a9cd0e1b0" providerId="ADAL" clId="{6635BE88-E622-4209-B003-D5FF412B30B6}" dt="2022-10-10T11:51:39.390" v="2463"/>
          <ac:spMkLst>
            <pc:docMk/>
            <pc:sldMk cId="2328650505" sldId="367"/>
            <ac:spMk id="58" creationId="{1A2A3AC0-C7D7-A9C5-23C5-B8A6812750EB}"/>
          </ac:spMkLst>
        </pc:spChg>
        <pc:spChg chg="mod">
          <ac:chgData name="Quan Nguyen - Y17" userId="fcceac3d-5680-48d6-8dcd-178a9cd0e1b0" providerId="ADAL" clId="{6635BE88-E622-4209-B003-D5FF412B30B6}" dt="2022-10-10T11:51:39.390" v="2463"/>
          <ac:spMkLst>
            <pc:docMk/>
            <pc:sldMk cId="2328650505" sldId="367"/>
            <ac:spMk id="59" creationId="{8DB3BC46-CDF4-8D6D-E42B-0445B2106718}"/>
          </ac:spMkLst>
        </pc:spChg>
        <pc:spChg chg="mod">
          <ac:chgData name="Quan Nguyen - Y17" userId="fcceac3d-5680-48d6-8dcd-178a9cd0e1b0" providerId="ADAL" clId="{6635BE88-E622-4209-B003-D5FF412B30B6}" dt="2022-10-10T11:51:39.390" v="2463"/>
          <ac:spMkLst>
            <pc:docMk/>
            <pc:sldMk cId="2328650505" sldId="367"/>
            <ac:spMk id="60" creationId="{A4F31F5B-3799-80D2-80A7-FF109B0C174E}"/>
          </ac:spMkLst>
        </pc:spChg>
        <pc:spChg chg="mod">
          <ac:chgData name="Quan Nguyen - Y17" userId="fcceac3d-5680-48d6-8dcd-178a9cd0e1b0" providerId="ADAL" clId="{6635BE88-E622-4209-B003-D5FF412B30B6}" dt="2022-10-10T11:51:39.390" v="2463"/>
          <ac:spMkLst>
            <pc:docMk/>
            <pc:sldMk cId="2328650505" sldId="367"/>
            <ac:spMk id="61" creationId="{E084C21C-FF5F-A148-09DE-B7D31CD6E90D}"/>
          </ac:spMkLst>
        </pc:spChg>
        <pc:spChg chg="mod">
          <ac:chgData name="Quan Nguyen - Y17" userId="fcceac3d-5680-48d6-8dcd-178a9cd0e1b0" providerId="ADAL" clId="{6635BE88-E622-4209-B003-D5FF412B30B6}" dt="2022-10-10T11:51:39.390" v="2463"/>
          <ac:spMkLst>
            <pc:docMk/>
            <pc:sldMk cId="2328650505" sldId="367"/>
            <ac:spMk id="62" creationId="{C87FFD3B-0D3D-7562-AAEE-26F096E6BAAA}"/>
          </ac:spMkLst>
        </pc:spChg>
        <pc:spChg chg="mod">
          <ac:chgData name="Quan Nguyen - Y17" userId="fcceac3d-5680-48d6-8dcd-178a9cd0e1b0" providerId="ADAL" clId="{6635BE88-E622-4209-B003-D5FF412B30B6}" dt="2022-10-10T11:51:39.390" v="2463"/>
          <ac:spMkLst>
            <pc:docMk/>
            <pc:sldMk cId="2328650505" sldId="367"/>
            <ac:spMk id="63" creationId="{0D5D04EF-4C14-33AB-3F86-6FFEC8E18F6E}"/>
          </ac:spMkLst>
        </pc:spChg>
        <pc:spChg chg="mod">
          <ac:chgData name="Quan Nguyen - Y17" userId="fcceac3d-5680-48d6-8dcd-178a9cd0e1b0" providerId="ADAL" clId="{6635BE88-E622-4209-B003-D5FF412B30B6}" dt="2022-10-10T11:51:39.390" v="2463"/>
          <ac:spMkLst>
            <pc:docMk/>
            <pc:sldMk cId="2328650505" sldId="367"/>
            <ac:spMk id="128" creationId="{5F015060-505C-1D19-28C1-7165F211CD57}"/>
          </ac:spMkLst>
        </pc:spChg>
        <pc:spChg chg="mod">
          <ac:chgData name="Quan Nguyen - Y17" userId="fcceac3d-5680-48d6-8dcd-178a9cd0e1b0" providerId="ADAL" clId="{6635BE88-E622-4209-B003-D5FF412B30B6}" dt="2022-10-10T11:51:39.390" v="2463"/>
          <ac:spMkLst>
            <pc:docMk/>
            <pc:sldMk cId="2328650505" sldId="367"/>
            <ac:spMk id="129" creationId="{7C8A0619-40F4-98A9-08A6-4A0187EBDB47}"/>
          </ac:spMkLst>
        </pc:spChg>
        <pc:spChg chg="mod">
          <ac:chgData name="Quan Nguyen - Y17" userId="fcceac3d-5680-48d6-8dcd-178a9cd0e1b0" providerId="ADAL" clId="{6635BE88-E622-4209-B003-D5FF412B30B6}" dt="2022-10-10T11:51:39.390" v="2463"/>
          <ac:spMkLst>
            <pc:docMk/>
            <pc:sldMk cId="2328650505" sldId="367"/>
            <ac:spMk id="130" creationId="{C789BD2A-C8C9-D884-2A97-8F57EEB4B067}"/>
          </ac:spMkLst>
        </pc:spChg>
        <pc:spChg chg="mod">
          <ac:chgData name="Quan Nguyen - Y17" userId="fcceac3d-5680-48d6-8dcd-178a9cd0e1b0" providerId="ADAL" clId="{6635BE88-E622-4209-B003-D5FF412B30B6}" dt="2022-10-10T11:51:39.390" v="2463"/>
          <ac:spMkLst>
            <pc:docMk/>
            <pc:sldMk cId="2328650505" sldId="367"/>
            <ac:spMk id="131" creationId="{93CDD44D-7D92-1082-69DB-FE46ECD67061}"/>
          </ac:spMkLst>
        </pc:spChg>
        <pc:spChg chg="mod">
          <ac:chgData name="Quan Nguyen - Y17" userId="fcceac3d-5680-48d6-8dcd-178a9cd0e1b0" providerId="ADAL" clId="{6635BE88-E622-4209-B003-D5FF412B30B6}" dt="2022-10-10T11:51:39.390" v="2463"/>
          <ac:spMkLst>
            <pc:docMk/>
            <pc:sldMk cId="2328650505" sldId="367"/>
            <ac:spMk id="132" creationId="{87ECFE48-3F41-0A96-792E-797CEB755058}"/>
          </ac:spMkLst>
        </pc:spChg>
        <pc:grpChg chg="mod">
          <ac:chgData name="Quan Nguyen - Y17" userId="fcceac3d-5680-48d6-8dcd-178a9cd0e1b0" providerId="ADAL" clId="{6635BE88-E622-4209-B003-D5FF412B30B6}" dt="2022-10-10T11:53:04.572" v="2474" actId="14100"/>
          <ac:grpSpMkLst>
            <pc:docMk/>
            <pc:sldMk cId="2328650505" sldId="367"/>
            <ac:grpSpMk id="6" creationId="{39C49E6D-3CE4-A5ED-69F2-6501733A8BB4}"/>
          </ac:grpSpMkLst>
        </pc:grpChg>
        <pc:grpChg chg="add mod">
          <ac:chgData name="Quan Nguyen - Y17" userId="fcceac3d-5680-48d6-8dcd-178a9cd0e1b0" providerId="ADAL" clId="{6635BE88-E622-4209-B003-D5FF412B30B6}" dt="2022-10-10T11:51:49.931" v="2465" actId="1076"/>
          <ac:grpSpMkLst>
            <pc:docMk/>
            <pc:sldMk cId="2328650505" sldId="367"/>
            <ac:grpSpMk id="11" creationId="{C3AD557B-F4F3-58B0-D473-064CF45013B2}"/>
          </ac:grpSpMkLst>
        </pc:grpChg>
        <pc:grpChg chg="mod">
          <ac:chgData name="Quan Nguyen - Y17" userId="fcceac3d-5680-48d6-8dcd-178a9cd0e1b0" providerId="ADAL" clId="{6635BE88-E622-4209-B003-D5FF412B30B6}" dt="2022-10-10T11:51:39.390" v="2463"/>
          <ac:grpSpMkLst>
            <pc:docMk/>
            <pc:sldMk cId="2328650505" sldId="367"/>
            <ac:grpSpMk id="13" creationId="{373D4344-1A44-F084-0D91-2A54162C0F01}"/>
          </ac:grpSpMkLst>
        </pc:grpChg>
        <pc:grpChg chg="mod">
          <ac:chgData name="Quan Nguyen - Y17" userId="fcceac3d-5680-48d6-8dcd-178a9cd0e1b0" providerId="ADAL" clId="{6635BE88-E622-4209-B003-D5FF412B30B6}" dt="2022-10-10T11:51:39.390" v="2463"/>
          <ac:grpSpMkLst>
            <pc:docMk/>
            <pc:sldMk cId="2328650505" sldId="367"/>
            <ac:grpSpMk id="14" creationId="{F55C27B4-23D6-61BF-7A53-57392BF3EA94}"/>
          </ac:grpSpMkLst>
        </pc:grpChg>
        <pc:grpChg chg="mod">
          <ac:chgData name="Quan Nguyen - Y17" userId="fcceac3d-5680-48d6-8dcd-178a9cd0e1b0" providerId="ADAL" clId="{6635BE88-E622-4209-B003-D5FF412B30B6}" dt="2022-10-10T11:51:39.390" v="2463"/>
          <ac:grpSpMkLst>
            <pc:docMk/>
            <pc:sldMk cId="2328650505" sldId="367"/>
            <ac:grpSpMk id="15" creationId="{747BB94F-6B87-C1D8-A640-59D58396A95D}"/>
          </ac:grpSpMkLst>
        </pc:grpChg>
        <pc:grpChg chg="mod">
          <ac:chgData name="Quan Nguyen - Y17" userId="fcceac3d-5680-48d6-8dcd-178a9cd0e1b0" providerId="ADAL" clId="{6635BE88-E622-4209-B003-D5FF412B30B6}" dt="2022-10-10T11:51:39.390" v="2463"/>
          <ac:grpSpMkLst>
            <pc:docMk/>
            <pc:sldMk cId="2328650505" sldId="367"/>
            <ac:grpSpMk id="16" creationId="{5D2111A9-5A1D-EE32-2DC6-062BBC5FF6C4}"/>
          </ac:grpSpMkLst>
        </pc:grpChg>
        <pc:grpChg chg="mod">
          <ac:chgData name="Quan Nguyen - Y17" userId="fcceac3d-5680-48d6-8dcd-178a9cd0e1b0" providerId="ADAL" clId="{6635BE88-E622-4209-B003-D5FF412B30B6}" dt="2022-10-10T11:51:39.390" v="2463"/>
          <ac:grpSpMkLst>
            <pc:docMk/>
            <pc:sldMk cId="2328650505" sldId="367"/>
            <ac:grpSpMk id="22" creationId="{B5B66C43-436D-3E0C-CF54-67BD798EDCD0}"/>
          </ac:grpSpMkLst>
        </pc:grpChg>
        <pc:grpChg chg="mod">
          <ac:chgData name="Quan Nguyen - Y17" userId="fcceac3d-5680-48d6-8dcd-178a9cd0e1b0" providerId="ADAL" clId="{6635BE88-E622-4209-B003-D5FF412B30B6}" dt="2022-10-10T11:51:39.390" v="2463"/>
          <ac:grpSpMkLst>
            <pc:docMk/>
            <pc:sldMk cId="2328650505" sldId="367"/>
            <ac:grpSpMk id="23" creationId="{C6FBA55D-6619-9EF9-27C6-9EE40B57FEF4}"/>
          </ac:grpSpMkLst>
        </pc:grpChg>
        <pc:grpChg chg="mod">
          <ac:chgData name="Quan Nguyen - Y17" userId="fcceac3d-5680-48d6-8dcd-178a9cd0e1b0" providerId="ADAL" clId="{6635BE88-E622-4209-B003-D5FF412B30B6}" dt="2022-10-10T11:51:39.390" v="2463"/>
          <ac:grpSpMkLst>
            <pc:docMk/>
            <pc:sldMk cId="2328650505" sldId="367"/>
            <ac:grpSpMk id="25" creationId="{16A2069E-16B4-51FC-CB2D-A4F879B7B656}"/>
          </ac:grpSpMkLst>
        </pc:grpChg>
        <pc:cxnChg chg="mod">
          <ac:chgData name="Quan Nguyen - Y17" userId="fcceac3d-5680-48d6-8dcd-178a9cd0e1b0" providerId="ADAL" clId="{6635BE88-E622-4209-B003-D5FF412B30B6}" dt="2022-10-10T11:49:54.149" v="2454" actId="14100"/>
          <ac:cxnSpMkLst>
            <pc:docMk/>
            <pc:sldMk cId="2328650505" sldId="367"/>
            <ac:cxnSpMk id="7" creationId="{94365525-32F7-49AD-F938-D5D24335C8F5}"/>
          </ac:cxnSpMkLst>
        </pc:cxnChg>
      </pc:sldChg>
      <pc:sldChg chg="addSp delSp modSp add mod">
        <pc:chgData name="Quan Nguyen - Y17" userId="fcceac3d-5680-48d6-8dcd-178a9cd0e1b0" providerId="ADAL" clId="{6635BE88-E622-4209-B003-D5FF412B30B6}" dt="2022-10-10T11:53:59.692" v="2482" actId="115"/>
        <pc:sldMkLst>
          <pc:docMk/>
          <pc:sldMk cId="1769034468" sldId="368"/>
        </pc:sldMkLst>
        <pc:spChg chg="add mod">
          <ac:chgData name="Quan Nguyen - Y17" userId="fcceac3d-5680-48d6-8dcd-178a9cd0e1b0" providerId="ADAL" clId="{6635BE88-E622-4209-B003-D5FF412B30B6}" dt="2022-10-10T11:53:59.692" v="2482" actId="115"/>
          <ac:spMkLst>
            <pc:docMk/>
            <pc:sldMk cId="1769034468" sldId="368"/>
            <ac:spMk id="2" creationId="{2B255ED9-3C37-8ECB-B005-484B6C90F187}"/>
          </ac:spMkLst>
        </pc:spChg>
        <pc:spChg chg="mod">
          <ac:chgData name="Quan Nguyen - Y17" userId="fcceac3d-5680-48d6-8dcd-178a9cd0e1b0" providerId="ADAL" clId="{6635BE88-E622-4209-B003-D5FF412B30B6}" dt="2022-10-10T11:53:26.587" v="2478" actId="1076"/>
          <ac:spMkLst>
            <pc:docMk/>
            <pc:sldMk cId="1769034468" sldId="368"/>
            <ac:spMk id="10" creationId="{18F516DB-97A3-4817-7B81-742976A03ABB}"/>
          </ac:spMkLst>
        </pc:spChg>
        <pc:grpChg chg="add mod">
          <ac:chgData name="Quan Nguyen - Y17" userId="fcceac3d-5680-48d6-8dcd-178a9cd0e1b0" providerId="ADAL" clId="{6635BE88-E622-4209-B003-D5FF412B30B6}" dt="2022-10-10T11:53:18.900" v="2476" actId="1076"/>
          <ac:grpSpMkLst>
            <pc:docMk/>
            <pc:sldMk cId="1769034468" sldId="368"/>
            <ac:grpSpMk id="6" creationId="{1D4BCA1E-322C-F310-31DB-7C4E1BCBF1E6}"/>
          </ac:grpSpMkLst>
        </pc:grpChg>
        <pc:picChg chg="del">
          <ac:chgData name="Quan Nguyen - Y17" userId="fcceac3d-5680-48d6-8dcd-178a9cd0e1b0" providerId="ADAL" clId="{6635BE88-E622-4209-B003-D5FF412B30B6}" dt="2022-10-10T11:52:43.746" v="2470" actId="478"/>
          <ac:picMkLst>
            <pc:docMk/>
            <pc:sldMk cId="1769034468" sldId="368"/>
            <ac:picMk id="3" creationId="{7833F102-6B85-C06C-F9BC-02878BCA3002}"/>
          </ac:picMkLst>
        </pc:picChg>
        <pc:picChg chg="add mod">
          <ac:chgData name="Quan Nguyen - Y17" userId="fcceac3d-5680-48d6-8dcd-178a9cd0e1b0" providerId="ADAL" clId="{6635BE88-E622-4209-B003-D5FF412B30B6}" dt="2022-10-10T11:52:52.199" v="2473" actId="1076"/>
          <ac:picMkLst>
            <pc:docMk/>
            <pc:sldMk cId="1769034468" sldId="368"/>
            <ac:picMk id="4" creationId="{D3C4646D-5AED-DD26-EDBB-5FF47B46CDC5}"/>
          </ac:picMkLst>
        </pc:picChg>
        <pc:picChg chg="add mod">
          <ac:chgData name="Quan Nguyen - Y17" userId="fcceac3d-5680-48d6-8dcd-178a9cd0e1b0" providerId="ADAL" clId="{6635BE88-E622-4209-B003-D5FF412B30B6}" dt="2022-10-10T11:52:52.199" v="2473" actId="1076"/>
          <ac:picMkLst>
            <pc:docMk/>
            <pc:sldMk cId="1769034468" sldId="368"/>
            <ac:picMk id="5" creationId="{8F83EC1F-56FD-DDCC-86E5-A4B368201D3A}"/>
          </ac:picMkLst>
        </pc:picChg>
        <pc:picChg chg="del">
          <ac:chgData name="Quan Nguyen - Y17" userId="fcceac3d-5680-48d6-8dcd-178a9cd0e1b0" providerId="ADAL" clId="{6635BE88-E622-4209-B003-D5FF412B30B6}" dt="2022-10-10T11:52:44.355" v="2471" actId="478"/>
          <ac:picMkLst>
            <pc:docMk/>
            <pc:sldMk cId="1769034468" sldId="368"/>
            <ac:picMk id="7" creationId="{5A80ECEA-000F-81FA-372B-3CFB20146630}"/>
          </ac:picMkLst>
        </pc:picChg>
        <pc:cxnChg chg="mod">
          <ac:chgData name="Quan Nguyen - Y17" userId="fcceac3d-5680-48d6-8dcd-178a9cd0e1b0" providerId="ADAL" clId="{6635BE88-E622-4209-B003-D5FF412B30B6}" dt="2022-10-10T11:53:46.996" v="2481" actId="14100"/>
          <ac:cxnSpMkLst>
            <pc:docMk/>
            <pc:sldMk cId="1769034468" sldId="368"/>
            <ac:cxnSpMk id="9" creationId="{F3BE4E5E-A2DA-5E9C-DCE4-04CDBEAFB006}"/>
          </ac:cxnSpMkLst>
        </pc:cxnChg>
      </pc:sldChg>
      <pc:sldChg chg="addSp modSp add mod">
        <pc:chgData name="Quan Nguyen - Y17" userId="fcceac3d-5680-48d6-8dcd-178a9cd0e1b0" providerId="ADAL" clId="{6635BE88-E622-4209-B003-D5FF412B30B6}" dt="2022-10-10T12:18:38.592" v="2911" actId="113"/>
        <pc:sldMkLst>
          <pc:docMk/>
          <pc:sldMk cId="175695467" sldId="369"/>
        </pc:sldMkLst>
        <pc:spChg chg="add mod">
          <ac:chgData name="Quan Nguyen - Y17" userId="fcceac3d-5680-48d6-8dcd-178a9cd0e1b0" providerId="ADAL" clId="{6635BE88-E622-4209-B003-D5FF412B30B6}" dt="2022-10-10T11:54:41.515" v="2489" actId="1076"/>
          <ac:spMkLst>
            <pc:docMk/>
            <pc:sldMk cId="175695467" sldId="369"/>
            <ac:spMk id="2" creationId="{8BE4FE87-A174-7137-C8E6-77287D71F353}"/>
          </ac:spMkLst>
        </pc:spChg>
        <pc:spChg chg="add mod">
          <ac:chgData name="Quan Nguyen - Y17" userId="fcceac3d-5680-48d6-8dcd-178a9cd0e1b0" providerId="ADAL" clId="{6635BE88-E622-4209-B003-D5FF412B30B6}" dt="2022-10-10T12:18:38.592" v="2911" actId="113"/>
          <ac:spMkLst>
            <pc:docMk/>
            <pc:sldMk cId="175695467" sldId="369"/>
            <ac:spMk id="3" creationId="{2CBA0A16-9013-A615-8515-0F7E2D7F7A64}"/>
          </ac:spMkLst>
        </pc:spChg>
      </pc:sldChg>
      <pc:sldChg chg="delSp modSp add mod">
        <pc:chgData name="Quan Nguyen - Y17" userId="fcceac3d-5680-48d6-8dcd-178a9cd0e1b0" providerId="ADAL" clId="{6635BE88-E622-4209-B003-D5FF412B30B6}" dt="2022-10-10T11:55:56.828" v="2532" actId="1076"/>
        <pc:sldMkLst>
          <pc:docMk/>
          <pc:sldMk cId="489567044" sldId="370"/>
        </pc:sldMkLst>
        <pc:spChg chg="mod">
          <ac:chgData name="Quan Nguyen - Y17" userId="fcceac3d-5680-48d6-8dcd-178a9cd0e1b0" providerId="ADAL" clId="{6635BE88-E622-4209-B003-D5FF412B30B6}" dt="2022-10-10T11:55:56.828" v="2532" actId="1076"/>
          <ac:spMkLst>
            <pc:docMk/>
            <pc:sldMk cId="489567044" sldId="370"/>
            <ac:spMk id="2" creationId="{181BF466-675B-4C91-E945-C6343C6128B9}"/>
          </ac:spMkLst>
        </pc:spChg>
        <pc:spChg chg="del">
          <ac:chgData name="Quan Nguyen - Y17" userId="fcceac3d-5680-48d6-8dcd-178a9cd0e1b0" providerId="ADAL" clId="{6635BE88-E622-4209-B003-D5FF412B30B6}" dt="2022-10-10T11:55:49.173" v="2531" actId="478"/>
          <ac:spMkLst>
            <pc:docMk/>
            <pc:sldMk cId="489567044" sldId="370"/>
            <ac:spMk id="3" creationId="{312F46FB-05E2-7C41-63A5-C464107D8AD2}"/>
          </ac:spMkLst>
        </pc:spChg>
        <pc:spChg chg="mod">
          <ac:chgData name="Quan Nguyen - Y17" userId="fcceac3d-5680-48d6-8dcd-178a9cd0e1b0" providerId="ADAL" clId="{6635BE88-E622-4209-B003-D5FF412B30B6}" dt="2022-10-10T11:55:19.187" v="2528" actId="20577"/>
          <ac:spMkLst>
            <pc:docMk/>
            <pc:sldMk cId="489567044" sldId="370"/>
            <ac:spMk id="14" creationId="{75D937E8-ACE5-44B9-8289-4EA6EFF979B0}"/>
          </ac:spMkLst>
        </pc:spChg>
        <pc:grpChg chg="del">
          <ac:chgData name="Quan Nguyen - Y17" userId="fcceac3d-5680-48d6-8dcd-178a9cd0e1b0" providerId="ADAL" clId="{6635BE88-E622-4209-B003-D5FF412B30B6}" dt="2022-10-10T11:55:48.293" v="2530" actId="478"/>
          <ac:grpSpMkLst>
            <pc:docMk/>
            <pc:sldMk cId="489567044" sldId="370"/>
            <ac:grpSpMk id="4" creationId="{82C04291-E69B-A1E6-2132-8CEE6B8B8E68}"/>
          </ac:grpSpMkLst>
        </pc:grpChg>
      </pc:sldChg>
      <pc:sldChg chg="addSp delSp modSp add del mod">
        <pc:chgData name="Quan Nguyen - Y17" userId="fcceac3d-5680-48d6-8dcd-178a9cd0e1b0" providerId="ADAL" clId="{6635BE88-E622-4209-B003-D5FF412B30B6}" dt="2022-10-10T12:16:07.957" v="2898" actId="47"/>
        <pc:sldMkLst>
          <pc:docMk/>
          <pc:sldMk cId="370066577" sldId="371"/>
        </pc:sldMkLst>
        <pc:spChg chg="del">
          <ac:chgData name="Quan Nguyen - Y17" userId="fcceac3d-5680-48d6-8dcd-178a9cd0e1b0" providerId="ADAL" clId="{6635BE88-E622-4209-B003-D5FF412B30B6}" dt="2022-10-10T12:06:30.557" v="2717" actId="478"/>
          <ac:spMkLst>
            <pc:docMk/>
            <pc:sldMk cId="370066577" sldId="371"/>
            <ac:spMk id="2" creationId="{8BE4FE87-A174-7137-C8E6-77287D71F353}"/>
          </ac:spMkLst>
        </pc:spChg>
        <pc:spChg chg="del">
          <ac:chgData name="Quan Nguyen - Y17" userId="fcceac3d-5680-48d6-8dcd-178a9cd0e1b0" providerId="ADAL" clId="{6635BE88-E622-4209-B003-D5FF412B30B6}" dt="2022-10-10T12:06:31.744" v="2718" actId="478"/>
          <ac:spMkLst>
            <pc:docMk/>
            <pc:sldMk cId="370066577" sldId="371"/>
            <ac:spMk id="3" creationId="{2CBA0A16-9013-A615-8515-0F7E2D7F7A64}"/>
          </ac:spMkLst>
        </pc:spChg>
        <pc:spChg chg="add del mod">
          <ac:chgData name="Quan Nguyen - Y17" userId="fcceac3d-5680-48d6-8dcd-178a9cd0e1b0" providerId="ADAL" clId="{6635BE88-E622-4209-B003-D5FF412B30B6}" dt="2022-10-10T12:07:35.506" v="2722"/>
          <ac:spMkLst>
            <pc:docMk/>
            <pc:sldMk cId="370066577" sldId="371"/>
            <ac:spMk id="5" creationId="{14006522-8CAF-98A0-10DF-026285D9AA94}"/>
          </ac:spMkLst>
        </pc:spChg>
        <pc:spChg chg="add mod">
          <ac:chgData name="Quan Nguyen - Y17" userId="fcceac3d-5680-48d6-8dcd-178a9cd0e1b0" providerId="ADAL" clId="{6635BE88-E622-4209-B003-D5FF412B30B6}" dt="2022-10-10T12:11:42.820" v="2878" actId="1076"/>
          <ac:spMkLst>
            <pc:docMk/>
            <pc:sldMk cId="370066577" sldId="371"/>
            <ac:spMk id="6" creationId="{D5D23F14-BADD-313A-AE4C-8C2774F6C8DF}"/>
          </ac:spMkLst>
        </pc:spChg>
        <pc:picChg chg="add del mod">
          <ac:chgData name="Quan Nguyen - Y17" userId="fcceac3d-5680-48d6-8dcd-178a9cd0e1b0" providerId="ADAL" clId="{6635BE88-E622-4209-B003-D5FF412B30B6}" dt="2022-10-10T12:08:26.260" v="2728" actId="478"/>
          <ac:picMkLst>
            <pc:docMk/>
            <pc:sldMk cId="370066577" sldId="371"/>
            <ac:picMk id="2050" creationId="{4D20329A-BB53-1F3E-D462-13F18357A20D}"/>
          </ac:picMkLst>
        </pc:picChg>
        <pc:picChg chg="add mod">
          <ac:chgData name="Quan Nguyen - Y17" userId="fcceac3d-5680-48d6-8dcd-178a9cd0e1b0" providerId="ADAL" clId="{6635BE88-E622-4209-B003-D5FF412B30B6}" dt="2022-10-10T12:11:37.267" v="2877" actId="1076"/>
          <ac:picMkLst>
            <pc:docMk/>
            <pc:sldMk cId="370066577" sldId="371"/>
            <ac:picMk id="2052" creationId="{56B145E8-6ECD-E10A-CD05-5D91593282E8}"/>
          </ac:picMkLst>
        </pc:picChg>
      </pc:sldChg>
      <pc:sldChg chg="new del">
        <pc:chgData name="Quan Nguyen - Y17" userId="fcceac3d-5680-48d6-8dcd-178a9cd0e1b0" providerId="ADAL" clId="{6635BE88-E622-4209-B003-D5FF412B30B6}" dt="2022-10-10T11:56:36.998" v="2536" actId="47"/>
        <pc:sldMkLst>
          <pc:docMk/>
          <pc:sldMk cId="1514224585" sldId="371"/>
        </pc:sldMkLst>
      </pc:sldChg>
      <pc:sldChg chg="addSp delSp modSp add mod">
        <pc:chgData name="Quan Nguyen - Y17" userId="fcceac3d-5680-48d6-8dcd-178a9cd0e1b0" providerId="ADAL" clId="{6635BE88-E622-4209-B003-D5FF412B30B6}" dt="2022-10-10T12:16:30.053" v="2904" actId="1076"/>
        <pc:sldMkLst>
          <pc:docMk/>
          <pc:sldMk cId="320637392" sldId="372"/>
        </pc:sldMkLst>
        <pc:spChg chg="add del mod">
          <ac:chgData name="Quan Nguyen - Y17" userId="fcceac3d-5680-48d6-8dcd-178a9cd0e1b0" providerId="ADAL" clId="{6635BE88-E622-4209-B003-D5FF412B30B6}" dt="2022-10-10T12:12:14.646" v="2883" actId="478"/>
          <ac:spMkLst>
            <pc:docMk/>
            <pc:sldMk cId="320637392" sldId="372"/>
            <ac:spMk id="3" creationId="{FA555199-018C-63B6-FCE6-0B932DE22DB9}"/>
          </ac:spMkLst>
        </pc:spChg>
        <pc:spChg chg="mod">
          <ac:chgData name="Quan Nguyen - Y17" userId="fcceac3d-5680-48d6-8dcd-178a9cd0e1b0" providerId="ADAL" clId="{6635BE88-E622-4209-B003-D5FF412B30B6}" dt="2022-10-10T12:16:21.757" v="2902" actId="14100"/>
          <ac:spMkLst>
            <pc:docMk/>
            <pc:sldMk cId="320637392" sldId="372"/>
            <ac:spMk id="14" creationId="{75D937E8-ACE5-44B9-8289-4EA6EFF979B0}"/>
          </ac:spMkLst>
        </pc:spChg>
        <pc:grpChg chg="mod">
          <ac:chgData name="Quan Nguyen - Y17" userId="fcceac3d-5680-48d6-8dcd-178a9cd0e1b0" providerId="ADAL" clId="{6635BE88-E622-4209-B003-D5FF412B30B6}" dt="2022-10-10T12:16:16.589" v="2900" actId="14100"/>
          <ac:grpSpMkLst>
            <pc:docMk/>
            <pc:sldMk cId="320637392" sldId="372"/>
            <ac:grpSpMk id="8" creationId="{0B08BBB2-D723-40AF-8467-E62CB87D54D3}"/>
          </ac:grpSpMkLst>
        </pc:grpChg>
        <pc:grpChg chg="mod">
          <ac:chgData name="Quan Nguyen - Y17" userId="fcceac3d-5680-48d6-8dcd-178a9cd0e1b0" providerId="ADAL" clId="{6635BE88-E622-4209-B003-D5FF412B30B6}" dt="2022-10-10T12:16:30.053" v="2904" actId="1076"/>
          <ac:grpSpMkLst>
            <pc:docMk/>
            <pc:sldMk cId="320637392" sldId="372"/>
            <ac:grpSpMk id="185" creationId="{8ED9B3ED-7120-4603-8CCD-E00D81660B0D}"/>
          </ac:grpSpMkLst>
        </pc:grpChg>
        <pc:picChg chg="add del mod">
          <ac:chgData name="Quan Nguyen - Y17" userId="fcceac3d-5680-48d6-8dcd-178a9cd0e1b0" providerId="ADAL" clId="{6635BE88-E622-4209-B003-D5FF412B30B6}" dt="2022-10-10T12:15:05.192" v="2888" actId="478"/>
          <ac:picMkLst>
            <pc:docMk/>
            <pc:sldMk cId="320637392" sldId="372"/>
            <ac:picMk id="2" creationId="{BF2EEDC3-23F7-E40E-600B-227D1AA3D20E}"/>
          </ac:picMkLst>
        </pc:picChg>
        <pc:picChg chg="add del mod">
          <ac:chgData name="Quan Nguyen - Y17" userId="fcceac3d-5680-48d6-8dcd-178a9cd0e1b0" providerId="ADAL" clId="{6635BE88-E622-4209-B003-D5FF412B30B6}" dt="2022-10-10T12:16:09.978" v="2899" actId="478"/>
          <ac:picMkLst>
            <pc:docMk/>
            <pc:sldMk cId="320637392" sldId="372"/>
            <ac:picMk id="3074" creationId="{23E9910C-B97A-98CB-466C-6CD24C51E7A6}"/>
          </ac:picMkLst>
        </pc:picChg>
        <pc:cxnChg chg="mod">
          <ac:chgData name="Quan Nguyen - Y17" userId="fcceac3d-5680-48d6-8dcd-178a9cd0e1b0" providerId="ADAL" clId="{6635BE88-E622-4209-B003-D5FF412B30B6}" dt="2022-10-10T12:16:25.757" v="2903" actId="1076"/>
          <ac:cxnSpMkLst>
            <pc:docMk/>
            <pc:sldMk cId="320637392" sldId="372"/>
            <ac:cxnSpMk id="100" creationId="{C37D7D94-A4F8-436E-A575-EF167AFBCF7C}"/>
          </ac:cxnSpMkLst>
        </pc:cxnChg>
      </pc:sldChg>
      <pc:sldChg chg="addSp delSp modSp add del mod modNotesTx">
        <pc:chgData name="Quan Nguyen - Y17" userId="fcceac3d-5680-48d6-8dcd-178a9cd0e1b0" providerId="ADAL" clId="{6635BE88-E622-4209-B003-D5FF412B30B6}" dt="2022-10-10T12:05:52.916" v="2715" actId="47"/>
        <pc:sldMkLst>
          <pc:docMk/>
          <pc:sldMk cId="1607865695" sldId="372"/>
        </pc:sldMkLst>
        <pc:spChg chg="add mod">
          <ac:chgData name="Quan Nguyen - Y17" userId="fcceac3d-5680-48d6-8dcd-178a9cd0e1b0" providerId="ADAL" clId="{6635BE88-E622-4209-B003-D5FF412B30B6}" dt="2022-10-10T12:04:37.124" v="2701" actId="1076"/>
          <ac:spMkLst>
            <pc:docMk/>
            <pc:sldMk cId="1607865695" sldId="372"/>
            <ac:spMk id="2" creationId="{49A013BC-7F80-0F84-19CA-A1A7E565B6A0}"/>
          </ac:spMkLst>
        </pc:spChg>
        <pc:spChg chg="del">
          <ac:chgData name="Quan Nguyen - Y17" userId="fcceac3d-5680-48d6-8dcd-178a9cd0e1b0" providerId="ADAL" clId="{6635BE88-E622-4209-B003-D5FF412B30B6}" dt="2022-10-10T12:00:26.139" v="2555" actId="478"/>
          <ac:spMkLst>
            <pc:docMk/>
            <pc:sldMk cId="1607865695" sldId="372"/>
            <ac:spMk id="5" creationId="{D755364E-337E-4CF9-BA2E-6218E08FA5C4}"/>
          </ac:spMkLst>
        </pc:spChg>
        <pc:spChg chg="mod">
          <ac:chgData name="Quan Nguyen - Y17" userId="fcceac3d-5680-48d6-8dcd-178a9cd0e1b0" providerId="ADAL" clId="{6635BE88-E622-4209-B003-D5FF412B30B6}" dt="2022-10-10T12:04:26.417" v="2699" actId="255"/>
          <ac:spMkLst>
            <pc:docMk/>
            <pc:sldMk cId="1607865695" sldId="372"/>
            <ac:spMk id="6" creationId="{4E517C28-B92E-4968-B277-6AA599C4EF0A}"/>
          </ac:spMkLst>
        </pc:spChg>
        <pc:spChg chg="add mod">
          <ac:chgData name="Quan Nguyen - Y17" userId="fcceac3d-5680-48d6-8dcd-178a9cd0e1b0" providerId="ADAL" clId="{6635BE88-E622-4209-B003-D5FF412B30B6}" dt="2022-10-10T12:04:39.517" v="2702" actId="1076"/>
          <ac:spMkLst>
            <pc:docMk/>
            <pc:sldMk cId="1607865695" sldId="372"/>
            <ac:spMk id="7" creationId="{E719F25A-3FCB-4DC3-F8F1-AE4BBC4081F2}"/>
          </ac:spMkLst>
        </pc:spChg>
        <pc:spChg chg="add mod ord">
          <ac:chgData name="Quan Nguyen - Y17" userId="fcceac3d-5680-48d6-8dcd-178a9cd0e1b0" providerId="ADAL" clId="{6635BE88-E622-4209-B003-D5FF412B30B6}" dt="2022-10-10T12:05:37.258" v="2713" actId="167"/>
          <ac:spMkLst>
            <pc:docMk/>
            <pc:sldMk cId="1607865695" sldId="372"/>
            <ac:spMk id="8" creationId="{34091A00-C592-090B-CD8D-30C0EB4F70E9}"/>
          </ac:spMkLst>
        </pc:spChg>
        <pc:spChg chg="del">
          <ac:chgData name="Quan Nguyen - Y17" userId="fcceac3d-5680-48d6-8dcd-178a9cd0e1b0" providerId="ADAL" clId="{6635BE88-E622-4209-B003-D5FF412B30B6}" dt="2022-10-10T12:01:07.961" v="2599" actId="478"/>
          <ac:spMkLst>
            <pc:docMk/>
            <pc:sldMk cId="1607865695" sldId="372"/>
            <ac:spMk id="25" creationId="{4429C897-4021-41E4-923A-CECD173E8818}"/>
          </ac:spMkLst>
        </pc:spChg>
        <pc:spChg chg="del">
          <ac:chgData name="Quan Nguyen - Y17" userId="fcceac3d-5680-48d6-8dcd-178a9cd0e1b0" providerId="ADAL" clId="{6635BE88-E622-4209-B003-D5FF412B30B6}" dt="2022-10-10T12:01:16.254" v="2602" actId="478"/>
          <ac:spMkLst>
            <pc:docMk/>
            <pc:sldMk cId="1607865695" sldId="372"/>
            <ac:spMk id="26" creationId="{AC35734E-904E-49A6-8870-C8BE2FC76AD2}"/>
          </ac:spMkLst>
        </pc:spChg>
        <pc:spChg chg="del">
          <ac:chgData name="Quan Nguyen - Y17" userId="fcceac3d-5680-48d6-8dcd-178a9cd0e1b0" providerId="ADAL" clId="{6635BE88-E622-4209-B003-D5FF412B30B6}" dt="2022-10-10T12:01:21.001" v="2604" actId="478"/>
          <ac:spMkLst>
            <pc:docMk/>
            <pc:sldMk cId="1607865695" sldId="372"/>
            <ac:spMk id="27" creationId="{74EA82D5-1454-4051-A92C-5B4E3A0137CE}"/>
          </ac:spMkLst>
        </pc:spChg>
        <pc:grpChg chg="mod ord">
          <ac:chgData name="Quan Nguyen - Y17" userId="fcceac3d-5680-48d6-8dcd-178a9cd0e1b0" providerId="ADAL" clId="{6635BE88-E622-4209-B003-D5FF412B30B6}" dt="2022-10-10T12:05:32.318" v="2712" actId="167"/>
          <ac:grpSpMkLst>
            <pc:docMk/>
            <pc:sldMk cId="1607865695" sldId="372"/>
            <ac:grpSpMk id="23" creationId="{06765266-6934-4483-B6C9-71E71298336D}"/>
          </ac:grpSpMkLst>
        </pc:grpChg>
        <pc:picChg chg="del">
          <ac:chgData name="Quan Nguyen - Y17" userId="fcceac3d-5680-48d6-8dcd-178a9cd0e1b0" providerId="ADAL" clId="{6635BE88-E622-4209-B003-D5FF412B30B6}" dt="2022-10-10T11:58:59.379" v="2538" actId="478"/>
          <ac:picMkLst>
            <pc:docMk/>
            <pc:sldMk cId="1607865695" sldId="372"/>
            <ac:picMk id="18" creationId="{FF0A869E-E009-43F7-A41B-170DB81B46B4}"/>
          </ac:picMkLst>
        </pc:picChg>
        <pc:picChg chg="del">
          <ac:chgData name="Quan Nguyen - Y17" userId="fcceac3d-5680-48d6-8dcd-178a9cd0e1b0" providerId="ADAL" clId="{6635BE88-E622-4209-B003-D5FF412B30B6}" dt="2022-10-10T12:01:18.005" v="2603" actId="478"/>
          <ac:picMkLst>
            <pc:docMk/>
            <pc:sldMk cId="1607865695" sldId="372"/>
            <ac:picMk id="24" creationId="{D1B994DD-EEE6-48B4-8372-81B8F01ADD8D}"/>
          </ac:picMkLst>
        </pc:picChg>
        <pc:picChg chg="del">
          <ac:chgData name="Quan Nguyen - Y17" userId="fcceac3d-5680-48d6-8dcd-178a9cd0e1b0" providerId="ADAL" clId="{6635BE88-E622-4209-B003-D5FF412B30B6}" dt="2022-10-10T12:01:22.619" v="2605" actId="478"/>
          <ac:picMkLst>
            <pc:docMk/>
            <pc:sldMk cId="1607865695" sldId="372"/>
            <ac:picMk id="29" creationId="{BC1A499F-C77E-44A5-9CDF-496D20E54544}"/>
          </ac:picMkLst>
        </pc:picChg>
        <pc:picChg chg="del">
          <ac:chgData name="Quan Nguyen - Y17" userId="fcceac3d-5680-48d6-8dcd-178a9cd0e1b0" providerId="ADAL" clId="{6635BE88-E622-4209-B003-D5FF412B30B6}" dt="2022-10-10T12:01:08.785" v="2600" actId="478"/>
          <ac:picMkLst>
            <pc:docMk/>
            <pc:sldMk cId="1607865695" sldId="372"/>
            <ac:picMk id="33" creationId="{97599400-B83B-41B0-817A-E8331C6C0292}"/>
          </ac:picMkLst>
        </pc:picChg>
        <pc:picChg chg="add del mod">
          <ac:chgData name="Quan Nguyen - Y17" userId="fcceac3d-5680-48d6-8dcd-178a9cd0e1b0" providerId="ADAL" clId="{6635BE88-E622-4209-B003-D5FF412B30B6}" dt="2022-10-10T12:00:00.596" v="2547" actId="478"/>
          <ac:picMkLst>
            <pc:docMk/>
            <pc:sldMk cId="1607865695" sldId="372"/>
            <ac:picMk id="1026" creationId="{1B609E9D-3DE3-45C4-505D-03F7F769C47F}"/>
          </ac:picMkLst>
        </pc:picChg>
        <pc:picChg chg="add mod">
          <ac:chgData name="Quan Nguyen - Y17" userId="fcceac3d-5680-48d6-8dcd-178a9cd0e1b0" providerId="ADAL" clId="{6635BE88-E622-4209-B003-D5FF412B30B6}" dt="2022-10-10T12:05:39.962" v="2714" actId="167"/>
          <ac:picMkLst>
            <pc:docMk/>
            <pc:sldMk cId="1607865695" sldId="372"/>
            <ac:picMk id="1028" creationId="{F114289F-6722-6D56-1F45-AB39312C18B2}"/>
          </ac:picMkLst>
        </pc:picChg>
      </pc:sldChg>
      <pc:sldChg chg="addSp delSp modSp add mod ord modNotesTx">
        <pc:chgData name="Quan Nguyen - Y17" userId="fcceac3d-5680-48d6-8dcd-178a9cd0e1b0" providerId="ADAL" clId="{6635BE88-E622-4209-B003-D5FF412B30B6}" dt="2022-10-10T16:08:14.269" v="3156"/>
        <pc:sldMkLst>
          <pc:docMk/>
          <pc:sldMk cId="964911528" sldId="373"/>
        </pc:sldMkLst>
        <pc:spChg chg="mod">
          <ac:chgData name="Quan Nguyen - Y17" userId="fcceac3d-5680-48d6-8dcd-178a9cd0e1b0" providerId="ADAL" clId="{6635BE88-E622-4209-B003-D5FF412B30B6}" dt="2022-10-10T13:59:06.748" v="2924" actId="1076"/>
          <ac:spMkLst>
            <pc:docMk/>
            <pc:sldMk cId="964911528" sldId="373"/>
            <ac:spMk id="6" creationId="{43C3A443-EEDA-0CFB-E9E2-617178B0EB3B}"/>
          </ac:spMkLst>
        </pc:spChg>
        <pc:spChg chg="mod">
          <ac:chgData name="Quan Nguyen - Y17" userId="fcceac3d-5680-48d6-8dcd-178a9cd0e1b0" providerId="ADAL" clId="{6635BE88-E622-4209-B003-D5FF412B30B6}" dt="2022-10-10T15:12:33.766" v="2992" actId="1076"/>
          <ac:spMkLst>
            <pc:docMk/>
            <pc:sldMk cId="964911528" sldId="373"/>
            <ac:spMk id="8" creationId="{615A9090-11A5-9805-92F2-60BD6A2B7E56}"/>
          </ac:spMkLst>
        </pc:spChg>
        <pc:spChg chg="add mod">
          <ac:chgData name="Quan Nguyen - Y17" userId="fcceac3d-5680-48d6-8dcd-178a9cd0e1b0" providerId="ADAL" clId="{6635BE88-E622-4209-B003-D5FF412B30B6}" dt="2022-10-10T15:13:07.182" v="3049" actId="1076"/>
          <ac:spMkLst>
            <pc:docMk/>
            <pc:sldMk cId="964911528" sldId="373"/>
            <ac:spMk id="15" creationId="{8F069816-74C0-83E8-AD9E-C25283833B4A}"/>
          </ac:spMkLst>
        </pc:spChg>
        <pc:spChg chg="add mod">
          <ac:chgData name="Quan Nguyen - Y17" userId="fcceac3d-5680-48d6-8dcd-178a9cd0e1b0" providerId="ADAL" clId="{6635BE88-E622-4209-B003-D5FF412B30B6}" dt="2022-10-10T15:13:13.126" v="3051" actId="1076"/>
          <ac:spMkLst>
            <pc:docMk/>
            <pc:sldMk cId="964911528" sldId="373"/>
            <ac:spMk id="16" creationId="{E020BE48-D9B9-217C-0272-BF192F2EE735}"/>
          </ac:spMkLst>
        </pc:spChg>
        <pc:spChg chg="add mod">
          <ac:chgData name="Quan Nguyen - Y17" userId="fcceac3d-5680-48d6-8dcd-178a9cd0e1b0" providerId="ADAL" clId="{6635BE88-E622-4209-B003-D5FF412B30B6}" dt="2022-10-10T15:26:00.158" v="3109" actId="1076"/>
          <ac:spMkLst>
            <pc:docMk/>
            <pc:sldMk cId="964911528" sldId="373"/>
            <ac:spMk id="18" creationId="{791D6399-A6AE-D979-5297-B29AC349F1A0}"/>
          </ac:spMkLst>
        </pc:spChg>
        <pc:grpChg chg="del mod">
          <ac:chgData name="Quan Nguyen - Y17" userId="fcceac3d-5680-48d6-8dcd-178a9cd0e1b0" providerId="ADAL" clId="{6635BE88-E622-4209-B003-D5FF412B30B6}" dt="2022-10-10T13:58:57.069" v="2921" actId="478"/>
          <ac:grpSpMkLst>
            <pc:docMk/>
            <pc:sldMk cId="964911528" sldId="373"/>
            <ac:grpSpMk id="11" creationId="{22753A79-8906-C103-A6B1-BF6045956F49}"/>
          </ac:grpSpMkLst>
        </pc:grpChg>
        <pc:picChg chg="add mod">
          <ac:chgData name="Quan Nguyen - Y17" userId="fcceac3d-5680-48d6-8dcd-178a9cd0e1b0" providerId="ADAL" clId="{6635BE88-E622-4209-B003-D5FF412B30B6}" dt="2022-10-10T14:43:41.662" v="2965" actId="14100"/>
          <ac:picMkLst>
            <pc:docMk/>
            <pc:sldMk cId="964911528" sldId="373"/>
            <ac:picMk id="3" creationId="{C834F966-8E31-700A-428A-75F2F93B8FF3}"/>
          </ac:picMkLst>
        </pc:picChg>
        <pc:picChg chg="add mod">
          <ac:chgData name="Quan Nguyen - Y17" userId="fcceac3d-5680-48d6-8dcd-178a9cd0e1b0" providerId="ADAL" clId="{6635BE88-E622-4209-B003-D5FF412B30B6}" dt="2022-10-10T14:43:47.294" v="2968" actId="1076"/>
          <ac:picMkLst>
            <pc:docMk/>
            <pc:sldMk cId="964911528" sldId="373"/>
            <ac:picMk id="12" creationId="{F6637872-DA7D-8134-FE1E-DDA38EA6F9DD}"/>
          </ac:picMkLst>
        </pc:picChg>
        <pc:picChg chg="add mod">
          <ac:chgData name="Quan Nguyen - Y17" userId="fcceac3d-5680-48d6-8dcd-178a9cd0e1b0" providerId="ADAL" clId="{6635BE88-E622-4209-B003-D5FF412B30B6}" dt="2022-10-10T14:44:13.309" v="2970" actId="1076"/>
          <ac:picMkLst>
            <pc:docMk/>
            <pc:sldMk cId="964911528" sldId="373"/>
            <ac:picMk id="14" creationId="{FDA110DF-6D46-CB6E-B462-99480A69EBE1}"/>
          </ac:picMkLst>
        </pc:picChg>
      </pc:sldChg>
      <pc:sldChg chg="addSp delSp modSp add mod ord modNotesTx">
        <pc:chgData name="Quan Nguyen - Y17" userId="fcceac3d-5680-48d6-8dcd-178a9cd0e1b0" providerId="ADAL" clId="{6635BE88-E622-4209-B003-D5FF412B30B6}" dt="2022-10-10T16:03:00.312" v="3152" actId="1076"/>
        <pc:sldMkLst>
          <pc:docMk/>
          <pc:sldMk cId="3846550812" sldId="374"/>
        </pc:sldMkLst>
        <pc:spChg chg="mod">
          <ac:chgData name="Quan Nguyen - Y17" userId="fcceac3d-5680-48d6-8dcd-178a9cd0e1b0" providerId="ADAL" clId="{6635BE88-E622-4209-B003-D5FF412B30B6}" dt="2022-10-10T16:02:04.763" v="3143"/>
          <ac:spMkLst>
            <pc:docMk/>
            <pc:sldMk cId="3846550812" sldId="374"/>
            <ac:spMk id="6" creationId="{43C3A443-EEDA-0CFB-E9E2-617178B0EB3B}"/>
          </ac:spMkLst>
        </pc:spChg>
        <pc:spChg chg="add mod">
          <ac:chgData name="Quan Nguyen - Y17" userId="fcceac3d-5680-48d6-8dcd-178a9cd0e1b0" providerId="ADAL" clId="{6635BE88-E622-4209-B003-D5FF412B30B6}" dt="2022-10-10T16:01:16.695" v="3131" actId="14100"/>
          <ac:spMkLst>
            <pc:docMk/>
            <pc:sldMk cId="3846550812" sldId="374"/>
            <ac:spMk id="7" creationId="{12E8954F-5F7E-93A1-F6B5-7E78BF290A52}"/>
          </ac:spMkLst>
        </pc:spChg>
        <pc:spChg chg="del">
          <ac:chgData name="Quan Nguyen - Y17" userId="fcceac3d-5680-48d6-8dcd-178a9cd0e1b0" providerId="ADAL" clId="{6635BE88-E622-4209-B003-D5FF412B30B6}" dt="2022-10-10T14:09:52.970" v="2939" actId="478"/>
          <ac:spMkLst>
            <pc:docMk/>
            <pc:sldMk cId="3846550812" sldId="374"/>
            <ac:spMk id="8" creationId="{615A9090-11A5-9805-92F2-60BD6A2B7E56}"/>
          </ac:spMkLst>
        </pc:spChg>
        <pc:spChg chg="add mod">
          <ac:chgData name="Quan Nguyen - Y17" userId="fcceac3d-5680-48d6-8dcd-178a9cd0e1b0" providerId="ADAL" clId="{6635BE88-E622-4209-B003-D5FF412B30B6}" dt="2022-10-10T16:02:56.880" v="3151" actId="1076"/>
          <ac:spMkLst>
            <pc:docMk/>
            <pc:sldMk cId="3846550812" sldId="374"/>
            <ac:spMk id="11" creationId="{899DFCEA-D151-CC67-708D-037614ADB465}"/>
          </ac:spMkLst>
        </pc:spChg>
        <pc:spChg chg="add mod">
          <ac:chgData name="Quan Nguyen - Y17" userId="fcceac3d-5680-48d6-8dcd-178a9cd0e1b0" providerId="ADAL" clId="{6635BE88-E622-4209-B003-D5FF412B30B6}" dt="2022-10-10T16:01:37.927" v="3138" actId="1076"/>
          <ac:spMkLst>
            <pc:docMk/>
            <pc:sldMk cId="3846550812" sldId="374"/>
            <ac:spMk id="12" creationId="{D4C19F3C-F0F2-B0C3-F668-0367B5E1CF5F}"/>
          </ac:spMkLst>
        </pc:spChg>
        <pc:spChg chg="add mod">
          <ac:chgData name="Quan Nguyen - Y17" userId="fcceac3d-5680-48d6-8dcd-178a9cd0e1b0" providerId="ADAL" clId="{6635BE88-E622-4209-B003-D5FF412B30B6}" dt="2022-10-10T16:01:13.823" v="3130" actId="1076"/>
          <ac:spMkLst>
            <pc:docMk/>
            <pc:sldMk cId="3846550812" sldId="374"/>
            <ac:spMk id="16" creationId="{E03BAD86-FF19-40AA-951F-DDA09A0F3E4D}"/>
          </ac:spMkLst>
        </pc:spChg>
        <pc:spChg chg="add mod">
          <ac:chgData name="Quan Nguyen - Y17" userId="fcceac3d-5680-48d6-8dcd-178a9cd0e1b0" providerId="ADAL" clId="{6635BE88-E622-4209-B003-D5FF412B30B6}" dt="2022-10-10T16:03:00.312" v="3152" actId="1076"/>
          <ac:spMkLst>
            <pc:docMk/>
            <pc:sldMk cId="3846550812" sldId="374"/>
            <ac:spMk id="19" creationId="{1E8C73B7-C547-BAF2-4B12-9DA76C742D2B}"/>
          </ac:spMkLst>
        </pc:spChg>
        <pc:spChg chg="add mod">
          <ac:chgData name="Quan Nguyen - Y17" userId="fcceac3d-5680-48d6-8dcd-178a9cd0e1b0" providerId="ADAL" clId="{6635BE88-E622-4209-B003-D5FF412B30B6}" dt="2022-10-10T16:02:27.925" v="3149" actId="2711"/>
          <ac:spMkLst>
            <pc:docMk/>
            <pc:sldMk cId="3846550812" sldId="374"/>
            <ac:spMk id="21" creationId="{E8F419B9-8FF7-CD01-5A00-EEBB09AF1D39}"/>
          </ac:spMkLst>
        </pc:spChg>
        <pc:picChg chg="del">
          <ac:chgData name="Quan Nguyen - Y17" userId="fcceac3d-5680-48d6-8dcd-178a9cd0e1b0" providerId="ADAL" clId="{6635BE88-E622-4209-B003-D5FF412B30B6}" dt="2022-10-10T14:09:49.714" v="2938" actId="478"/>
          <ac:picMkLst>
            <pc:docMk/>
            <pc:sldMk cId="3846550812" sldId="374"/>
            <ac:picMk id="3" creationId="{C834F966-8E31-700A-428A-75F2F93B8FF3}"/>
          </ac:picMkLst>
        </pc:picChg>
        <pc:picChg chg="add del mod">
          <ac:chgData name="Quan Nguyen - Y17" userId="fcceac3d-5680-48d6-8dcd-178a9cd0e1b0" providerId="ADAL" clId="{6635BE88-E622-4209-B003-D5FF412B30B6}" dt="2022-10-10T15:26:17.077" v="3110" actId="478"/>
          <ac:picMkLst>
            <pc:docMk/>
            <pc:sldMk cId="3846550812" sldId="374"/>
            <ac:picMk id="4" creationId="{15BF1D6A-EAF5-6FEA-F3DE-D3DCBA6474BC}"/>
          </ac:picMkLst>
        </pc:picChg>
        <pc:picChg chg="add mod">
          <ac:chgData name="Quan Nguyen - Y17" userId="fcceac3d-5680-48d6-8dcd-178a9cd0e1b0" providerId="ADAL" clId="{6635BE88-E622-4209-B003-D5FF412B30B6}" dt="2022-10-10T16:01:29.755" v="3136" actId="14100"/>
          <ac:picMkLst>
            <pc:docMk/>
            <pc:sldMk cId="3846550812" sldId="374"/>
            <ac:picMk id="14" creationId="{5DD86779-E7C2-7E4C-30C0-1AD426660840}"/>
          </ac:picMkLst>
        </pc:picChg>
        <pc:picChg chg="add mod">
          <ac:chgData name="Quan Nguyen - Y17" userId="fcceac3d-5680-48d6-8dcd-178a9cd0e1b0" providerId="ADAL" clId="{6635BE88-E622-4209-B003-D5FF412B30B6}" dt="2022-10-10T16:02:45.464" v="3150" actId="1076"/>
          <ac:picMkLst>
            <pc:docMk/>
            <pc:sldMk cId="3846550812" sldId="374"/>
            <ac:picMk id="18" creationId="{5C5BDEBE-4C41-BD5D-0FDA-639CA048EF2A}"/>
          </ac:picMkLst>
        </pc:picChg>
        <pc:picChg chg="add mod">
          <ac:chgData name="Quan Nguyen - Y17" userId="fcceac3d-5680-48d6-8dcd-178a9cd0e1b0" providerId="ADAL" clId="{6635BE88-E622-4209-B003-D5FF412B30B6}" dt="2022-10-10T16:01:55.383" v="3142" actId="1076"/>
          <ac:picMkLst>
            <pc:docMk/>
            <pc:sldMk cId="3846550812" sldId="374"/>
            <ac:picMk id="1026" creationId="{C87B3EBD-5435-2408-0164-DB3788E5B26A}"/>
          </ac:picMkLst>
        </pc:picChg>
      </pc:sldChg>
      <pc:sldChg chg="addSp delSp modSp add mod ord modNotesTx">
        <pc:chgData name="Quan Nguyen - Y17" userId="fcceac3d-5680-48d6-8dcd-178a9cd0e1b0" providerId="ADAL" clId="{6635BE88-E622-4209-B003-D5FF412B30B6}" dt="2022-10-10T14:37:40.886" v="2952" actId="14100"/>
        <pc:sldMkLst>
          <pc:docMk/>
          <pc:sldMk cId="3935886520" sldId="375"/>
        </pc:sldMkLst>
        <pc:picChg chg="add mod">
          <ac:chgData name="Quan Nguyen - Y17" userId="fcceac3d-5680-48d6-8dcd-178a9cd0e1b0" providerId="ADAL" clId="{6635BE88-E622-4209-B003-D5FF412B30B6}" dt="2022-10-10T14:37:40.886" v="2952" actId="14100"/>
          <ac:picMkLst>
            <pc:docMk/>
            <pc:sldMk cId="3935886520" sldId="375"/>
            <ac:picMk id="3" creationId="{645EF4AD-A8EB-E1EF-E87A-FC2CA8A1630D}"/>
          </ac:picMkLst>
        </pc:picChg>
        <pc:picChg chg="del">
          <ac:chgData name="Quan Nguyen - Y17" userId="fcceac3d-5680-48d6-8dcd-178a9cd0e1b0" providerId="ADAL" clId="{6635BE88-E622-4209-B003-D5FF412B30B6}" dt="2022-10-10T14:37:30.165" v="2947" actId="478"/>
          <ac:picMkLst>
            <pc:docMk/>
            <pc:sldMk cId="3935886520" sldId="375"/>
            <ac:picMk id="4" creationId="{15BF1D6A-EAF5-6FEA-F3DE-D3DCBA6474BC}"/>
          </ac:picMkLst>
        </pc:picChg>
      </pc:sldChg>
      <pc:sldChg chg="addSp delSp modSp add mod modNotesTx">
        <pc:chgData name="Quan Nguyen - Y17" userId="fcceac3d-5680-48d6-8dcd-178a9cd0e1b0" providerId="ADAL" clId="{6635BE88-E622-4209-B003-D5FF412B30B6}" dt="2022-10-10T16:11:10.176" v="3229" actId="1076"/>
        <pc:sldMkLst>
          <pc:docMk/>
          <pc:sldMk cId="2679137417" sldId="376"/>
        </pc:sldMkLst>
        <pc:spChg chg="add mod">
          <ac:chgData name="Quan Nguyen - Y17" userId="fcceac3d-5680-48d6-8dcd-178a9cd0e1b0" providerId="ADAL" clId="{6635BE88-E622-4209-B003-D5FF412B30B6}" dt="2022-10-10T16:11:06.888" v="3228" actId="1076"/>
          <ac:spMkLst>
            <pc:docMk/>
            <pc:sldMk cId="2679137417" sldId="376"/>
            <ac:spMk id="4" creationId="{FE2AD87A-64E0-335D-989E-FEF938C775AB}"/>
          </ac:spMkLst>
        </pc:spChg>
        <pc:spChg chg="add del mod">
          <ac:chgData name="Quan Nguyen - Y17" userId="fcceac3d-5680-48d6-8dcd-178a9cd0e1b0" providerId="ADAL" clId="{6635BE88-E622-4209-B003-D5FF412B30B6}" dt="2022-10-10T16:08:44.641" v="3162" actId="6549"/>
          <ac:spMkLst>
            <pc:docMk/>
            <pc:sldMk cId="2679137417" sldId="376"/>
            <ac:spMk id="6" creationId="{43C3A443-EEDA-0CFB-E9E2-617178B0EB3B}"/>
          </ac:spMkLst>
        </pc:spChg>
        <pc:spChg chg="del">
          <ac:chgData name="Quan Nguyen - Y17" userId="fcceac3d-5680-48d6-8dcd-178a9cd0e1b0" providerId="ADAL" clId="{6635BE88-E622-4209-B003-D5FF412B30B6}" dt="2022-10-10T16:08:48.406" v="3165" actId="478"/>
          <ac:spMkLst>
            <pc:docMk/>
            <pc:sldMk cId="2679137417" sldId="376"/>
            <ac:spMk id="7" creationId="{12E8954F-5F7E-93A1-F6B5-7E78BF290A52}"/>
          </ac:spMkLst>
        </pc:spChg>
        <pc:spChg chg="add mod">
          <ac:chgData name="Quan Nguyen - Y17" userId="fcceac3d-5680-48d6-8dcd-178a9cd0e1b0" providerId="ADAL" clId="{6635BE88-E622-4209-B003-D5FF412B30B6}" dt="2022-10-10T16:10:29.159" v="3211" actId="1076"/>
          <ac:spMkLst>
            <pc:docMk/>
            <pc:sldMk cId="2679137417" sldId="376"/>
            <ac:spMk id="8" creationId="{5839873C-AA4E-4FB1-F717-945F0D738EBC}"/>
          </ac:spMkLst>
        </pc:spChg>
        <pc:spChg chg="del">
          <ac:chgData name="Quan Nguyen - Y17" userId="fcceac3d-5680-48d6-8dcd-178a9cd0e1b0" providerId="ADAL" clId="{6635BE88-E622-4209-B003-D5FF412B30B6}" dt="2022-10-10T16:08:35.165" v="3158" actId="478"/>
          <ac:spMkLst>
            <pc:docMk/>
            <pc:sldMk cId="2679137417" sldId="376"/>
            <ac:spMk id="11" creationId="{899DFCEA-D151-CC67-708D-037614ADB465}"/>
          </ac:spMkLst>
        </pc:spChg>
        <pc:spChg chg="del">
          <ac:chgData name="Quan Nguyen - Y17" userId="fcceac3d-5680-48d6-8dcd-178a9cd0e1b0" providerId="ADAL" clId="{6635BE88-E622-4209-B003-D5FF412B30B6}" dt="2022-10-10T16:08:35.165" v="3158" actId="478"/>
          <ac:spMkLst>
            <pc:docMk/>
            <pc:sldMk cId="2679137417" sldId="376"/>
            <ac:spMk id="12" creationId="{D4C19F3C-F0F2-B0C3-F668-0367B5E1CF5F}"/>
          </ac:spMkLst>
        </pc:spChg>
        <pc:spChg chg="add mod">
          <ac:chgData name="Quan Nguyen - Y17" userId="fcceac3d-5680-48d6-8dcd-178a9cd0e1b0" providerId="ADAL" clId="{6635BE88-E622-4209-B003-D5FF412B30B6}" dt="2022-10-10T16:10:53.266" v="3217" actId="20577"/>
          <ac:spMkLst>
            <pc:docMk/>
            <pc:sldMk cId="2679137417" sldId="376"/>
            <ac:spMk id="13" creationId="{D0DF3F80-F50A-ED34-F6D3-A7C69F9E676A}"/>
          </ac:spMkLst>
        </pc:spChg>
        <pc:spChg chg="add mod">
          <ac:chgData name="Quan Nguyen - Y17" userId="fcceac3d-5680-48d6-8dcd-178a9cd0e1b0" providerId="ADAL" clId="{6635BE88-E622-4209-B003-D5FF412B30B6}" dt="2022-10-10T16:11:10.176" v="3229" actId="1076"/>
          <ac:spMkLst>
            <pc:docMk/>
            <pc:sldMk cId="2679137417" sldId="376"/>
            <ac:spMk id="15" creationId="{2D958AD9-24C0-C845-24DF-3185A6F30F58}"/>
          </ac:spMkLst>
        </pc:spChg>
        <pc:spChg chg="del">
          <ac:chgData name="Quan Nguyen - Y17" userId="fcceac3d-5680-48d6-8dcd-178a9cd0e1b0" providerId="ADAL" clId="{6635BE88-E622-4209-B003-D5FF412B30B6}" dt="2022-10-10T16:08:46.524" v="3163" actId="478"/>
          <ac:spMkLst>
            <pc:docMk/>
            <pc:sldMk cId="2679137417" sldId="376"/>
            <ac:spMk id="16" creationId="{E03BAD86-FF19-40AA-951F-DDA09A0F3E4D}"/>
          </ac:spMkLst>
        </pc:spChg>
        <pc:spChg chg="del">
          <ac:chgData name="Quan Nguyen - Y17" userId="fcceac3d-5680-48d6-8dcd-178a9cd0e1b0" providerId="ADAL" clId="{6635BE88-E622-4209-B003-D5FF412B30B6}" dt="2022-10-10T16:08:35.165" v="3158" actId="478"/>
          <ac:spMkLst>
            <pc:docMk/>
            <pc:sldMk cId="2679137417" sldId="376"/>
            <ac:spMk id="19" creationId="{1E8C73B7-C547-BAF2-4B12-9DA76C742D2B}"/>
          </ac:spMkLst>
        </pc:spChg>
        <pc:spChg chg="del">
          <ac:chgData name="Quan Nguyen - Y17" userId="fcceac3d-5680-48d6-8dcd-178a9cd0e1b0" providerId="ADAL" clId="{6635BE88-E622-4209-B003-D5FF412B30B6}" dt="2022-10-10T16:08:35.165" v="3158" actId="478"/>
          <ac:spMkLst>
            <pc:docMk/>
            <pc:sldMk cId="2679137417" sldId="376"/>
            <ac:spMk id="21" creationId="{E8F419B9-8FF7-CD01-5A00-EEBB09AF1D39}"/>
          </ac:spMkLst>
        </pc:spChg>
        <pc:picChg chg="add mod">
          <ac:chgData name="Quan Nguyen - Y17" userId="fcceac3d-5680-48d6-8dcd-178a9cd0e1b0" providerId="ADAL" clId="{6635BE88-E622-4209-B003-D5FF412B30B6}" dt="2022-10-10T16:10:23.048" v="3208" actId="1076"/>
          <ac:picMkLst>
            <pc:docMk/>
            <pc:sldMk cId="2679137417" sldId="376"/>
            <ac:picMk id="3" creationId="{B092A126-43F6-AA0E-6DCC-EE9C0D6F503F}"/>
          </ac:picMkLst>
        </pc:picChg>
        <pc:picChg chg="del">
          <ac:chgData name="Quan Nguyen - Y17" userId="fcceac3d-5680-48d6-8dcd-178a9cd0e1b0" providerId="ADAL" clId="{6635BE88-E622-4209-B003-D5FF412B30B6}" dt="2022-10-10T16:08:35.977" v="3159" actId="478"/>
          <ac:picMkLst>
            <pc:docMk/>
            <pc:sldMk cId="2679137417" sldId="376"/>
            <ac:picMk id="14" creationId="{5DD86779-E7C2-7E4C-30C0-1AD426660840}"/>
          </ac:picMkLst>
        </pc:picChg>
        <pc:picChg chg="del">
          <ac:chgData name="Quan Nguyen - Y17" userId="fcceac3d-5680-48d6-8dcd-178a9cd0e1b0" providerId="ADAL" clId="{6635BE88-E622-4209-B003-D5FF412B30B6}" dt="2022-10-10T16:08:35.165" v="3158" actId="478"/>
          <ac:picMkLst>
            <pc:docMk/>
            <pc:sldMk cId="2679137417" sldId="376"/>
            <ac:picMk id="18" creationId="{5C5BDEBE-4C41-BD5D-0FDA-639CA048EF2A}"/>
          </ac:picMkLst>
        </pc:picChg>
        <pc:picChg chg="del">
          <ac:chgData name="Quan Nguyen - Y17" userId="fcceac3d-5680-48d6-8dcd-178a9cd0e1b0" providerId="ADAL" clId="{6635BE88-E622-4209-B003-D5FF412B30B6}" dt="2022-10-10T16:08:47.179" v="3164" actId="478"/>
          <ac:picMkLst>
            <pc:docMk/>
            <pc:sldMk cId="2679137417" sldId="376"/>
            <ac:picMk id="1026" creationId="{C87B3EBD-5435-2408-0164-DB3788E5B26A}"/>
          </ac:picMkLst>
        </pc:picChg>
      </pc:sldChg>
      <pc:sldChg chg="delSp modSp add mod modNotesTx">
        <pc:chgData name="Quan Nguyen - Y17" userId="fcceac3d-5680-48d6-8dcd-178a9cd0e1b0" providerId="ADAL" clId="{6635BE88-E622-4209-B003-D5FF412B30B6}" dt="2022-10-10T17:03:15.304" v="4274" actId="20577"/>
        <pc:sldMkLst>
          <pc:docMk/>
          <pc:sldMk cId="2460558756" sldId="377"/>
        </pc:sldMkLst>
        <pc:spChg chg="mod">
          <ac:chgData name="Quan Nguyen - Y17" userId="fcceac3d-5680-48d6-8dcd-178a9cd0e1b0" providerId="ADAL" clId="{6635BE88-E622-4209-B003-D5FF412B30B6}" dt="2022-10-10T16:34:38.320" v="3280" actId="14100"/>
          <ac:spMkLst>
            <pc:docMk/>
            <pc:sldMk cId="2460558756" sldId="377"/>
            <ac:spMk id="2" creationId="{511BE542-45C3-ED1F-247C-ABA6C10188DC}"/>
          </ac:spMkLst>
        </pc:spChg>
        <pc:spChg chg="mod">
          <ac:chgData name="Quan Nguyen - Y17" userId="fcceac3d-5680-48d6-8dcd-178a9cd0e1b0" providerId="ADAL" clId="{6635BE88-E622-4209-B003-D5FF412B30B6}" dt="2022-10-10T16:34:07.312" v="3278" actId="20577"/>
          <ac:spMkLst>
            <pc:docMk/>
            <pc:sldMk cId="2460558756" sldId="377"/>
            <ac:spMk id="3" creationId="{79896686-6D10-CBCA-309A-EA81848096E9}"/>
          </ac:spMkLst>
        </pc:spChg>
        <pc:spChg chg="del">
          <ac:chgData name="Quan Nguyen - Y17" userId="fcceac3d-5680-48d6-8dcd-178a9cd0e1b0" providerId="ADAL" clId="{6635BE88-E622-4209-B003-D5FF412B30B6}" dt="2022-10-10T16:32:46.106" v="3264" actId="478"/>
          <ac:spMkLst>
            <pc:docMk/>
            <pc:sldMk cId="2460558756" sldId="377"/>
            <ac:spMk id="7" creationId="{3E3F6374-D4E8-12EE-A579-DE68338456B7}"/>
          </ac:spMkLst>
        </pc:spChg>
      </pc:sldChg>
      <pc:sldMasterChg chg="add addSldLayout">
        <pc:chgData name="Quan Nguyen - Y17" userId="fcceac3d-5680-48d6-8dcd-178a9cd0e1b0" providerId="ADAL" clId="{6635BE88-E622-4209-B003-D5FF412B30B6}" dt="2022-10-10T10:15:30.693" v="1118" actId="27028"/>
        <pc:sldMasterMkLst>
          <pc:docMk/>
          <pc:sldMasterMk cId="1309426773" sldId="2147483648"/>
        </pc:sldMasterMkLst>
        <pc:sldLayoutChg chg="add">
          <pc:chgData name="Quan Nguyen - Y17" userId="fcceac3d-5680-48d6-8dcd-178a9cd0e1b0" providerId="ADAL" clId="{6635BE88-E622-4209-B003-D5FF412B30B6}" dt="2022-10-10T10:01:46.916" v="622" actId="27028"/>
          <pc:sldLayoutMkLst>
            <pc:docMk/>
            <pc:sldMasterMk cId="1309426773" sldId="2147483648"/>
            <pc:sldLayoutMk cId="323071305" sldId="2147483649"/>
          </pc:sldLayoutMkLst>
        </pc:sldLayoutChg>
        <pc:sldLayoutChg chg="add">
          <pc:chgData name="Quan Nguyen - Y17" userId="fcceac3d-5680-48d6-8dcd-178a9cd0e1b0" providerId="ADAL" clId="{6635BE88-E622-4209-B003-D5FF412B30B6}" dt="2022-10-10T10:15:30.693" v="1118" actId="27028"/>
          <pc:sldLayoutMkLst>
            <pc:docMk/>
            <pc:sldMasterMk cId="1309426773" sldId="2147483648"/>
            <pc:sldLayoutMk cId="891333166" sldId="2147483650"/>
          </pc:sldLayoutMkLst>
        </pc:sldLayoutChg>
        <pc:sldLayoutChg chg="add">
          <pc:chgData name="Quan Nguyen - Y17" userId="fcceac3d-5680-48d6-8dcd-178a9cd0e1b0" providerId="ADAL" clId="{6635BE88-E622-4209-B003-D5FF412B30B6}" dt="2022-10-10T09:21:02.758" v="157" actId="27028"/>
          <pc:sldLayoutMkLst>
            <pc:docMk/>
            <pc:sldMasterMk cId="1309426773" sldId="2147483648"/>
            <pc:sldLayoutMk cId="1042182131" sldId="2147483655"/>
          </pc:sldLayoutMkLst>
        </pc:sldLayoutChg>
      </pc:sldMasterChg>
      <pc:sldMasterChg chg="addSp">
        <pc:chgData name="Quan Nguyen - Y17" userId="fcceac3d-5680-48d6-8dcd-178a9cd0e1b0" providerId="ADAL" clId="{6635BE88-E622-4209-B003-D5FF412B30B6}" dt="2022-10-10T09:18:06.872" v="138"/>
        <pc:sldMasterMkLst>
          <pc:docMk/>
          <pc:sldMasterMk cId="3479370003" sldId="2147483681"/>
        </pc:sldMasterMkLst>
        <pc:spChg chg="add">
          <ac:chgData name="Quan Nguyen - Y17" userId="fcceac3d-5680-48d6-8dcd-178a9cd0e1b0" providerId="ADAL" clId="{6635BE88-E622-4209-B003-D5FF412B30B6}" dt="2022-10-10T09:18:06.872" v="138"/>
          <ac:spMkLst>
            <pc:docMk/>
            <pc:sldMasterMk cId="3479370003" sldId="2147483681"/>
            <ac:spMk id="13" creationId="{B8B32824-66C2-0B97-184F-0FDD28D9BDCB}"/>
          </ac:spMkLst>
        </pc:spChg>
        <pc:graphicFrameChg chg="add">
          <ac:chgData name="Quan Nguyen - Y17" userId="fcceac3d-5680-48d6-8dcd-178a9cd0e1b0" providerId="ADAL" clId="{6635BE88-E622-4209-B003-D5FF412B30B6}" dt="2022-10-10T09:18:06.872" v="138"/>
          <ac:graphicFrameMkLst>
            <pc:docMk/>
            <pc:sldMasterMk cId="3479370003" sldId="2147483681"/>
            <ac:graphicFrameMk id="11" creationId="{13CAA609-6971-54C8-91AB-1CAA608EFE94}"/>
          </ac:graphicFrameMkLst>
        </pc:graphicFrameChg>
      </pc:sldMasterChg>
    </pc:docChg>
  </pc:docChgLst>
  <pc:docChgLst>
    <pc:chgData name="Quan Luu - Y17" userId="f2f1242b-7044-4a68-9ca9-364518083370" providerId="ADAL" clId="{D9708D2B-6410-40E1-821F-76241FAFCE69}"/>
    <pc:docChg chg="custSel modSld">
      <pc:chgData name="Quan Luu - Y17" userId="f2f1242b-7044-4a68-9ca9-364518083370" providerId="ADAL" clId="{D9708D2B-6410-40E1-821F-76241FAFCE69}" dt="2022-10-10T18:42:56.522" v="73" actId="1076"/>
      <pc:docMkLst>
        <pc:docMk/>
      </pc:docMkLst>
      <pc:sldChg chg="modSp mod">
        <pc:chgData name="Quan Luu - Y17" userId="f2f1242b-7044-4a68-9ca9-364518083370" providerId="ADAL" clId="{D9708D2B-6410-40E1-821F-76241FAFCE69}" dt="2022-10-10T13:40:39.833" v="8" actId="1076"/>
        <pc:sldMkLst>
          <pc:docMk/>
          <pc:sldMk cId="3898218446" sldId="311"/>
        </pc:sldMkLst>
        <pc:spChg chg="mod">
          <ac:chgData name="Quan Luu - Y17" userId="f2f1242b-7044-4a68-9ca9-364518083370" providerId="ADAL" clId="{D9708D2B-6410-40E1-821F-76241FAFCE69}" dt="2022-10-10T13:40:39.833" v="8" actId="1076"/>
          <ac:spMkLst>
            <pc:docMk/>
            <pc:sldMk cId="3898218446" sldId="311"/>
            <ac:spMk id="5" creationId="{65EEF70B-A428-117F-8E70-2BD97CD5E3CE}"/>
          </ac:spMkLst>
        </pc:spChg>
        <pc:picChg chg="mod">
          <ac:chgData name="Quan Luu - Y17" userId="f2f1242b-7044-4a68-9ca9-364518083370" providerId="ADAL" clId="{D9708D2B-6410-40E1-821F-76241FAFCE69}" dt="2022-10-10T13:40:37.136" v="7" actId="1076"/>
          <ac:picMkLst>
            <pc:docMk/>
            <pc:sldMk cId="3898218446" sldId="311"/>
            <ac:picMk id="4" creationId="{68BAE239-69F1-7A35-D370-D2BCA6AAB743}"/>
          </ac:picMkLst>
        </pc:picChg>
      </pc:sldChg>
      <pc:sldChg chg="modSp mod">
        <pc:chgData name="Quan Luu - Y17" userId="f2f1242b-7044-4a68-9ca9-364518083370" providerId="ADAL" clId="{D9708D2B-6410-40E1-821F-76241FAFCE69}" dt="2022-10-10T13:44:18.370" v="24" actId="1076"/>
        <pc:sldMkLst>
          <pc:docMk/>
          <pc:sldMk cId="459867519" sldId="342"/>
        </pc:sldMkLst>
        <pc:picChg chg="mod">
          <ac:chgData name="Quan Luu - Y17" userId="f2f1242b-7044-4a68-9ca9-364518083370" providerId="ADAL" clId="{D9708D2B-6410-40E1-821F-76241FAFCE69}" dt="2022-10-10T13:44:18.370" v="24" actId="1076"/>
          <ac:picMkLst>
            <pc:docMk/>
            <pc:sldMk cId="459867519" sldId="342"/>
            <ac:picMk id="2" creationId="{944EAD7B-5AFD-550C-CAE3-0A5F1EE1883F}"/>
          </ac:picMkLst>
        </pc:picChg>
      </pc:sldChg>
      <pc:sldChg chg="modSp mod">
        <pc:chgData name="Quan Luu - Y17" userId="f2f1242b-7044-4a68-9ca9-364518083370" providerId="ADAL" clId="{D9708D2B-6410-40E1-821F-76241FAFCE69}" dt="2022-10-10T15:00:45.358" v="64" actId="20577"/>
        <pc:sldMkLst>
          <pc:docMk/>
          <pc:sldMk cId="722779773" sldId="343"/>
        </pc:sldMkLst>
        <pc:spChg chg="mod">
          <ac:chgData name="Quan Luu - Y17" userId="f2f1242b-7044-4a68-9ca9-364518083370" providerId="ADAL" clId="{D9708D2B-6410-40E1-821F-76241FAFCE69}" dt="2022-10-10T15:00:45.358" v="64" actId="20577"/>
          <ac:spMkLst>
            <pc:docMk/>
            <pc:sldMk cId="722779773" sldId="343"/>
            <ac:spMk id="5" creationId="{0F147420-BF4D-A635-B6E1-42A2EE6D06FB}"/>
          </ac:spMkLst>
        </pc:spChg>
        <pc:spChg chg="mod">
          <ac:chgData name="Quan Luu - Y17" userId="f2f1242b-7044-4a68-9ca9-364518083370" providerId="ADAL" clId="{D9708D2B-6410-40E1-821F-76241FAFCE69}" dt="2022-10-10T14:53:46.577" v="60" actId="1076"/>
          <ac:spMkLst>
            <pc:docMk/>
            <pc:sldMk cId="722779773" sldId="343"/>
            <ac:spMk id="15" creationId="{08E00CE3-7AF9-A0C5-1DD7-76EDDF15A956}"/>
          </ac:spMkLst>
        </pc:spChg>
        <pc:spChg chg="mod">
          <ac:chgData name="Quan Luu - Y17" userId="f2f1242b-7044-4a68-9ca9-364518083370" providerId="ADAL" clId="{D9708D2B-6410-40E1-821F-76241FAFCE69}" dt="2022-10-10T13:43:58.619" v="22" actId="1076"/>
          <ac:spMkLst>
            <pc:docMk/>
            <pc:sldMk cId="722779773" sldId="343"/>
            <ac:spMk id="117" creationId="{F0F43D88-7132-4834-A0CB-DC04939A2D34}"/>
          </ac:spMkLst>
        </pc:spChg>
      </pc:sldChg>
      <pc:sldChg chg="modSp mod modNotesTx">
        <pc:chgData name="Quan Luu - Y17" userId="f2f1242b-7044-4a68-9ca9-364518083370" providerId="ADAL" clId="{D9708D2B-6410-40E1-821F-76241FAFCE69}" dt="2022-10-10T13:46:21.829" v="52" actId="20577"/>
        <pc:sldMkLst>
          <pc:docMk/>
          <pc:sldMk cId="2781693379" sldId="344"/>
        </pc:sldMkLst>
        <pc:spChg chg="mod">
          <ac:chgData name="Quan Luu - Y17" userId="f2f1242b-7044-4a68-9ca9-364518083370" providerId="ADAL" clId="{D9708D2B-6410-40E1-821F-76241FAFCE69}" dt="2022-10-10T13:46:21.829" v="52" actId="20577"/>
          <ac:spMkLst>
            <pc:docMk/>
            <pc:sldMk cId="2781693379" sldId="344"/>
            <ac:spMk id="41" creationId="{7AF3D00D-65D2-422F-9E7C-A39D55335265}"/>
          </ac:spMkLst>
        </pc:spChg>
      </pc:sldChg>
      <pc:sldChg chg="modNotesTx">
        <pc:chgData name="Quan Luu - Y17" userId="f2f1242b-7044-4a68-9ca9-364518083370" providerId="ADAL" clId="{D9708D2B-6410-40E1-821F-76241FAFCE69}" dt="2022-10-10T13:41:36.736" v="9" actId="20577"/>
        <pc:sldMkLst>
          <pc:docMk/>
          <pc:sldMk cId="2527682482" sldId="362"/>
        </pc:sldMkLst>
      </pc:sldChg>
      <pc:sldChg chg="addSp delSp modSp mod delAnim modAnim">
        <pc:chgData name="Quan Luu - Y17" userId="f2f1242b-7044-4a68-9ca9-364518083370" providerId="ADAL" clId="{D9708D2B-6410-40E1-821F-76241FAFCE69}" dt="2022-10-10T18:42:56.522" v="73" actId="1076"/>
        <pc:sldMkLst>
          <pc:docMk/>
          <pc:sldMk cId="2584289684" sldId="363"/>
        </pc:sldMkLst>
        <pc:picChg chg="del">
          <ac:chgData name="Quan Luu - Y17" userId="f2f1242b-7044-4a68-9ca9-364518083370" providerId="ADAL" clId="{D9708D2B-6410-40E1-821F-76241FAFCE69}" dt="2022-10-10T18:22:03.054" v="65" actId="478"/>
          <ac:picMkLst>
            <pc:docMk/>
            <pc:sldMk cId="2584289684" sldId="363"/>
            <ac:picMk id="2" creationId="{4F12086B-CDD6-7C66-57B3-E654E2154821}"/>
          </ac:picMkLst>
        </pc:picChg>
        <pc:picChg chg="add del mod">
          <ac:chgData name="Quan Luu - Y17" userId="f2f1242b-7044-4a68-9ca9-364518083370" providerId="ADAL" clId="{D9708D2B-6410-40E1-821F-76241FAFCE69}" dt="2022-10-10T18:42:33.378" v="68" actId="478"/>
          <ac:picMkLst>
            <pc:docMk/>
            <pc:sldMk cId="2584289684" sldId="363"/>
            <ac:picMk id="7" creationId="{A069CF22-CC7D-83D2-4027-977425919DA8}"/>
          </ac:picMkLst>
        </pc:picChg>
        <pc:picChg chg="add mod">
          <ac:chgData name="Quan Luu - Y17" userId="f2f1242b-7044-4a68-9ca9-364518083370" providerId="ADAL" clId="{D9708D2B-6410-40E1-821F-76241FAFCE69}" dt="2022-10-10T18:42:56.522" v="73" actId="1076"/>
          <ac:picMkLst>
            <pc:docMk/>
            <pc:sldMk cId="2584289684" sldId="363"/>
            <ac:picMk id="10" creationId="{C5F51B12-5200-EBD9-C8DB-A454E30A0BB2}"/>
          </ac:picMkLst>
        </pc:picChg>
      </pc:sldChg>
    </pc:docChg>
  </pc:docChgLst>
  <pc:docChgLst>
    <pc:chgData name="Thai Dinh - Y17" userId="80be2301-12ae-4bc5-807a-93a5def3b004" providerId="ADAL" clId="{AB705389-7F02-CB4F-9E67-EEE75C98A006}"/>
    <pc:docChg chg="modSld">
      <pc:chgData name="Thai Dinh - Y17" userId="80be2301-12ae-4bc5-807a-93a5def3b004" providerId="ADAL" clId="{AB705389-7F02-CB4F-9E67-EEE75C98A006}" dt="2022-11-16T15:58:11.809" v="61" actId="1035"/>
      <pc:docMkLst>
        <pc:docMk/>
      </pc:docMkLst>
      <pc:sldChg chg="modSp mod">
        <pc:chgData name="Thai Dinh - Y17" userId="80be2301-12ae-4bc5-807a-93a5def3b004" providerId="ADAL" clId="{AB705389-7F02-CB4F-9E67-EEE75C98A006}" dt="2022-11-16T15:58:11.809" v="61" actId="1035"/>
        <pc:sldMkLst>
          <pc:docMk/>
          <pc:sldMk cId="3898218446" sldId="311"/>
        </pc:sldMkLst>
        <pc:spChg chg="mod">
          <ac:chgData name="Thai Dinh - Y17" userId="80be2301-12ae-4bc5-807a-93a5def3b004" providerId="ADAL" clId="{AB705389-7F02-CB4F-9E67-EEE75C98A006}" dt="2022-11-16T15:56:27.057" v="60" actId="20577"/>
          <ac:spMkLst>
            <pc:docMk/>
            <pc:sldMk cId="3898218446" sldId="311"/>
            <ac:spMk id="3" creationId="{01718668-B734-4583-3136-D3A86F75358C}"/>
          </ac:spMkLst>
        </pc:spChg>
        <pc:spChg chg="mod">
          <ac:chgData name="Thai Dinh - Y17" userId="80be2301-12ae-4bc5-807a-93a5def3b004" providerId="ADAL" clId="{AB705389-7F02-CB4F-9E67-EEE75C98A006}" dt="2022-11-16T15:58:11.809" v="61" actId="1035"/>
          <ac:spMkLst>
            <pc:docMk/>
            <pc:sldMk cId="3898218446" sldId="311"/>
            <ac:spMk id="10" creationId="{1A6B066F-D778-86DA-73D0-AFBFC1FF5249}"/>
          </ac:spMkLst>
        </pc:spChg>
      </pc:sldChg>
      <pc:sldChg chg="modSp mod">
        <pc:chgData name="Thai Dinh - Y17" userId="80be2301-12ae-4bc5-807a-93a5def3b004" providerId="ADAL" clId="{AB705389-7F02-CB4F-9E67-EEE75C98A006}" dt="2022-11-16T14:11:01.038" v="1" actId="1036"/>
        <pc:sldMkLst>
          <pc:docMk/>
          <pc:sldMk cId="3432651199" sldId="335"/>
        </pc:sldMkLst>
        <pc:grpChg chg="mod">
          <ac:chgData name="Thai Dinh - Y17" userId="80be2301-12ae-4bc5-807a-93a5def3b004" providerId="ADAL" clId="{AB705389-7F02-CB4F-9E67-EEE75C98A006}" dt="2022-11-16T14:11:01.038" v="1" actId="1036"/>
          <ac:grpSpMkLst>
            <pc:docMk/>
            <pc:sldMk cId="3432651199" sldId="335"/>
            <ac:grpSpMk id="41" creationId="{C798E251-C664-449F-A9CD-307940ABF567}"/>
          </ac:grpSpMkLst>
        </pc:grpChg>
      </pc:sldChg>
      <pc:sldChg chg="modSp mod">
        <pc:chgData name="Thai Dinh - Y17" userId="80be2301-12ae-4bc5-807a-93a5def3b004" providerId="ADAL" clId="{AB705389-7F02-CB4F-9E67-EEE75C98A006}" dt="2022-11-16T15:30:32.619" v="5" actId="1035"/>
        <pc:sldMkLst>
          <pc:docMk/>
          <pc:sldMk cId="4188419405" sldId="356"/>
        </pc:sldMkLst>
        <pc:spChg chg="mod">
          <ac:chgData name="Thai Dinh - Y17" userId="80be2301-12ae-4bc5-807a-93a5def3b004" providerId="ADAL" clId="{AB705389-7F02-CB4F-9E67-EEE75C98A006}" dt="2022-11-16T15:30:32.619" v="5" actId="1035"/>
          <ac:spMkLst>
            <pc:docMk/>
            <pc:sldMk cId="4188419405" sldId="356"/>
            <ac:spMk id="68" creationId="{23F0C8A8-EBAB-4071-851C-3BBEB54BBBC4}"/>
          </ac:spMkLst>
        </pc:spChg>
        <pc:graphicFrameChg chg="mod modGraphic">
          <ac:chgData name="Thai Dinh - Y17" userId="80be2301-12ae-4bc5-807a-93a5def3b004" providerId="ADAL" clId="{AB705389-7F02-CB4F-9E67-EEE75C98A006}" dt="2022-11-16T15:23:55.200" v="4" actId="20577"/>
          <ac:graphicFrameMkLst>
            <pc:docMk/>
            <pc:sldMk cId="4188419405" sldId="356"/>
            <ac:graphicFrameMk id="5" creationId="{4F406570-EEA7-1F70-CA38-38AE0E4AD4B8}"/>
          </ac:graphicFrameMkLst>
        </pc:graphicFrameChg>
      </pc:sldChg>
      <pc:sldChg chg="modSp mod">
        <pc:chgData name="Thai Dinh - Y17" userId="80be2301-12ae-4bc5-807a-93a5def3b004" providerId="ADAL" clId="{AB705389-7F02-CB4F-9E67-EEE75C98A006}" dt="2022-11-14T16:35:26.301" v="0" actId="1036"/>
        <pc:sldMkLst>
          <pc:docMk/>
          <pc:sldMk cId="2584289684" sldId="363"/>
        </pc:sldMkLst>
        <pc:picChg chg="mod">
          <ac:chgData name="Thai Dinh - Y17" userId="80be2301-12ae-4bc5-807a-93a5def3b004" providerId="ADAL" clId="{AB705389-7F02-CB4F-9E67-EEE75C98A006}" dt="2022-11-14T16:35:26.301" v="0" actId="1036"/>
          <ac:picMkLst>
            <pc:docMk/>
            <pc:sldMk cId="2584289684" sldId="363"/>
            <ac:picMk id="10" creationId="{C5F51B12-5200-EBD9-C8DB-A454E30A0BB2}"/>
          </ac:picMkLst>
        </pc:picChg>
      </pc:sldChg>
    </pc:docChg>
  </pc:docChgLst>
  <pc:docChgLst>
    <pc:chgData name="Quan Nguyen - Y17" userId="S::nhquan.y17@ump.edu.vn::fcceac3d-5680-48d6-8dcd-178a9cd0e1b0" providerId="AD" clId="Web-{68DA3B02-DCC4-078D-3995-F4FF957D9A38}"/>
    <pc:docChg chg="modSld">
      <pc:chgData name="Quan Nguyen - Y17" userId="S::nhquan.y17@ump.edu.vn::fcceac3d-5680-48d6-8dcd-178a9cd0e1b0" providerId="AD" clId="Web-{68DA3B02-DCC4-078D-3995-F4FF957D9A38}" dt="2022-10-10T12:23:39.915" v="0"/>
      <pc:docMkLst>
        <pc:docMk/>
      </pc:docMkLst>
      <pc:sldChg chg="delSp">
        <pc:chgData name="Quan Nguyen - Y17" userId="S::nhquan.y17@ump.edu.vn::fcceac3d-5680-48d6-8dcd-178a9cd0e1b0" providerId="AD" clId="Web-{68DA3B02-DCC4-078D-3995-F4FF957D9A38}" dt="2022-10-10T12:23:39.915" v="0"/>
        <pc:sldMkLst>
          <pc:docMk/>
          <pc:sldMk cId="730781248" sldId="326"/>
        </pc:sldMkLst>
        <pc:spChg chg="del">
          <ac:chgData name="Quan Nguyen - Y17" userId="S::nhquan.y17@ump.edu.vn::fcceac3d-5680-48d6-8dcd-178a9cd0e1b0" providerId="AD" clId="Web-{68DA3B02-DCC4-078D-3995-F4FF957D9A38}" dt="2022-10-10T12:23:39.915" v="0"/>
          <ac:spMkLst>
            <pc:docMk/>
            <pc:sldMk cId="730781248" sldId="326"/>
            <ac:spMk id="2" creationId="{C778CEA1-F747-D16C-F224-C3925E80B77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CCB6B9-3217-4EEA-A2BF-59AEE2D69591}" type="datetimeFigureOut">
              <a:rPr lang="en-ID" smtClean="0"/>
              <a:t>16/11/22</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3377B1-7BB6-4BE3-919F-B708E163C3AD}" type="slidenum">
              <a:rPr lang="en-ID" smtClean="0"/>
              <a:t>‹#›</a:t>
            </a:fld>
            <a:endParaRPr lang="en-ID"/>
          </a:p>
        </p:txBody>
      </p:sp>
    </p:spTree>
    <p:extLst>
      <p:ext uri="{BB962C8B-B14F-4D97-AF65-F5344CB8AC3E}">
        <p14:creationId xmlns:p14="http://schemas.microsoft.com/office/powerpoint/2010/main" val="28185126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ncbi.nlm.nih.gov/pubmed/21160627"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dx.doi.org/10.4253/wjge.v2.i8.278"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ubs.rsna.org/doi/abs/10.1148/rg.2019190011"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pubs.rsna.org/doi/full/10.1148/rg.2019190011#r32" TargetMode="External"/><Relationship Id="rId4" Type="http://schemas.openxmlformats.org/officeDocument/2006/relationships/hyperlink" Target="https://pubs.rsna.org/doi/full/10.1148/rg.2019190011#r29"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ubs.rsna.org/doi/abs/10.1148/rg.2019190011"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pubs.rsna.org/doi/full/10.1148/rg.2019190011#r32" TargetMode="External"/><Relationship Id="rId4" Type="http://schemas.openxmlformats.org/officeDocument/2006/relationships/hyperlink" Target="https://pubs.rsna.org/doi/full/10.1148/rg.2019190011#r29"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ispub.com/IJS/28/2/14003"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84E0C8"/>
                </a:solidFill>
                <a:sym typeface="Calibri" panose="020F0502020204030204" pitchFamily="34" charset="0"/>
              </a:rPr>
              <a:t>https://</a:t>
            </a:r>
            <a:r>
              <a:rPr lang="en-US" dirty="0" err="1">
                <a:solidFill>
                  <a:srgbClr val="84E0C8"/>
                </a:solidFill>
                <a:sym typeface="Calibri" panose="020F0502020204030204" pitchFamily="34" charset="0"/>
              </a:rPr>
              <a:t>www.freepik.com</a:t>
            </a:r>
            <a:r>
              <a:rPr lang="en-US" dirty="0">
                <a:solidFill>
                  <a:srgbClr val="84E0C8"/>
                </a:solidFill>
                <a:sym typeface="Calibri" panose="020F0502020204030204" pitchFamily="34" charset="0"/>
              </a:rPr>
              <a:t>/free-photo/delivery-pizza-boy-covering-his-face-with-boxes_6645367.htm#page=6&amp;query=</a:t>
            </a:r>
            <a:r>
              <a:rPr lang="en-US" dirty="0" err="1">
                <a:solidFill>
                  <a:srgbClr val="84E0C8"/>
                </a:solidFill>
                <a:sym typeface="Calibri" panose="020F0502020204030204" pitchFamily="34" charset="0"/>
              </a:rPr>
              <a:t>delivery&amp;position</a:t>
            </a:r>
            <a:r>
              <a:rPr lang="en-US" dirty="0">
                <a:solidFill>
                  <a:srgbClr val="84E0C8"/>
                </a:solidFill>
                <a:sym typeface="Calibri" panose="020F0502020204030204" pitchFamily="34" charset="0"/>
              </a:rPr>
              <a:t>=16</a:t>
            </a:r>
          </a:p>
          <a:p>
            <a:endParaRPr lang="en-ID" dirty="0"/>
          </a:p>
        </p:txBody>
      </p:sp>
      <p:sp>
        <p:nvSpPr>
          <p:cNvPr id="4" name="Slide Number Placeholder 3"/>
          <p:cNvSpPr>
            <a:spLocks noGrp="1"/>
          </p:cNvSpPr>
          <p:nvPr>
            <p:ph type="sldNum" sz="quarter" idx="5"/>
          </p:nvPr>
        </p:nvSpPr>
        <p:spPr/>
        <p:txBody>
          <a:bodyPr/>
          <a:lstStyle/>
          <a:p>
            <a:fld id="{8670653B-8FC2-4C8E-B0DB-DC6058263EA5}" type="slidenum">
              <a:rPr lang="en-ID" smtClean="0"/>
              <a:t>1</a:t>
            </a:fld>
            <a:endParaRPr lang="en-ID"/>
          </a:p>
        </p:txBody>
      </p:sp>
    </p:spTree>
    <p:extLst>
      <p:ext uri="{BB962C8B-B14F-4D97-AF65-F5344CB8AC3E}">
        <p14:creationId xmlns:p14="http://schemas.microsoft.com/office/powerpoint/2010/main" val="4007872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a:t>Castillo C. Endoscopic ultrasound in the papilla and the periampullary region. World J </a:t>
            </a:r>
            <a:r>
              <a:rPr lang="en-ID" err="1"/>
              <a:t>Gastrointest</a:t>
            </a:r>
            <a:r>
              <a:rPr lang="en-ID"/>
              <a:t> </a:t>
            </a:r>
            <a:r>
              <a:rPr lang="en-ID" err="1"/>
              <a:t>Endosc</a:t>
            </a:r>
            <a:r>
              <a:rPr lang="en-ID"/>
              <a:t> 2010; 2(8): 278-287</a:t>
            </a:r>
            <a:br>
              <a:rPr lang="en-ID"/>
            </a:br>
            <a:br>
              <a:rPr lang="en-ID"/>
            </a:br>
            <a:r>
              <a:rPr lang="en-ID"/>
              <a:t>Castillo C. Endoscopic ultrasound in the papilla and the periampullary region. </a:t>
            </a:r>
            <a:r>
              <a:rPr lang="en-ID" i="1"/>
              <a:t>World J </a:t>
            </a:r>
            <a:r>
              <a:rPr lang="en-ID" i="1" err="1"/>
              <a:t>Gastrointest</a:t>
            </a:r>
            <a:r>
              <a:rPr lang="en-ID" i="1"/>
              <a:t> </a:t>
            </a:r>
            <a:r>
              <a:rPr lang="en-ID" i="1" err="1"/>
              <a:t>Endosc</a:t>
            </a:r>
            <a:r>
              <a:rPr lang="en-ID"/>
              <a:t> 2010; 2(8): 278-287 [PMID: </a:t>
            </a:r>
            <a:r>
              <a:rPr lang="en-ID">
                <a:hlinkClick r:id="rId3"/>
              </a:rPr>
              <a:t>21160627</a:t>
            </a:r>
            <a:r>
              <a:rPr lang="en-ID"/>
              <a:t> DOI: </a:t>
            </a:r>
            <a:r>
              <a:rPr lang="en-ID">
                <a:hlinkClick r:id="rId4"/>
              </a:rPr>
              <a:t>10.4253/wjge.v2.i8.278</a:t>
            </a:r>
            <a:r>
              <a:rPr lang="en-ID"/>
              <a:t>]</a:t>
            </a:r>
          </a:p>
        </p:txBody>
      </p:sp>
      <p:sp>
        <p:nvSpPr>
          <p:cNvPr id="4" name="Slide Number Placeholder 3"/>
          <p:cNvSpPr>
            <a:spLocks noGrp="1"/>
          </p:cNvSpPr>
          <p:nvPr>
            <p:ph type="sldNum" sz="quarter" idx="5"/>
          </p:nvPr>
        </p:nvSpPr>
        <p:spPr/>
        <p:txBody>
          <a:bodyPr/>
          <a:lstStyle/>
          <a:p>
            <a:fld id="{503377B1-7BB6-4BE3-919F-B708E163C3AD}" type="slidenum">
              <a:rPr lang="en-ID" smtClean="0"/>
              <a:t>10</a:t>
            </a:fld>
            <a:endParaRPr lang="en-ID"/>
          </a:p>
        </p:txBody>
      </p:sp>
    </p:spTree>
    <p:extLst>
      <p:ext uri="{BB962C8B-B14F-4D97-AF65-F5344CB8AC3E}">
        <p14:creationId xmlns:p14="http://schemas.microsoft.com/office/powerpoint/2010/main" val="3570807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CLS chẩn đoán u quanh bóng vater có khá nhiều, vậy chúng ta sử dụng ntn nào, </a:t>
            </a:r>
          </a:p>
          <a:p>
            <a:r>
              <a:rPr lang="vi-VN"/>
              <a:t>Nhóm trình xin trình bày các cận lâm sàng chẩn đoán theo hướng tiếp cận với theo từng bước và từng mục đích</a:t>
            </a:r>
          </a:p>
          <a:p>
            <a:r>
              <a:rPr lang="vi-VN"/>
              <a:t>Khi tiếp cận 1 Bn nghi ngờ ung thư quanh bóng vater, chúng ta cần trả lời các ý sau: </a:t>
            </a:r>
          </a:p>
          <a:p>
            <a:r>
              <a:rPr lang="vi-VN"/>
              <a:t>1- xac định có u hay không và u ở quan nào trong nhóm u quanh bóng vater</a:t>
            </a:r>
          </a:p>
          <a:p>
            <a:r>
              <a:rPr lang="vi-VN"/>
              <a:t>2- đánh giá tình trạng xâm lấn di căn, để trả lời câu hỏi quan trọng là khối u này có phẫu thuật được hay không.</a:t>
            </a:r>
          </a:p>
          <a:p>
            <a:r>
              <a:rPr lang="vi-VN"/>
              <a:t>3- đánh giá bản chất giải phẫu bệnh của u để xác định chẩn đoán, tiên lượng và theo dõi điều trị. </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11</a:t>
            </a:fld>
            <a:endParaRPr lang="en-ID"/>
          </a:p>
        </p:txBody>
      </p:sp>
    </p:spTree>
    <p:extLst>
      <p:ext uri="{BB962C8B-B14F-4D97-AF65-F5344CB8AC3E}">
        <p14:creationId xmlns:p14="http://schemas.microsoft.com/office/powerpoint/2010/main" val="4283932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b="0" i="0">
                <a:solidFill>
                  <a:srgbClr val="212121"/>
                </a:solidFill>
                <a:effectLst/>
                <a:latin typeface="Roboto" panose="02000000000000000000" pitchFamily="2" charset="0"/>
              </a:rPr>
              <a:t>Shrikhande SV, Barreto SG, Goel M, Arya S. Multimodality imaging of pancreatic ductal adenocarcinoma: a review of the literature. HPB (Oxford). 2012 Oct;14(10):658-68 </a:t>
            </a:r>
            <a:endParaRPr lang="vi-VN" b="0" i="0">
              <a:solidFill>
                <a:srgbClr val="000000"/>
              </a:solidFill>
              <a:effectLst/>
              <a:latin typeface="Open Sans" panose="020B0606030504020204" pitchFamily="34" charset="0"/>
            </a:endParaRPr>
          </a:p>
          <a:p>
            <a:r>
              <a:rPr lang="vi-VN" b="0" i="0">
                <a:solidFill>
                  <a:srgbClr val="000000"/>
                </a:solidFill>
                <a:effectLst/>
                <a:latin typeface="Open Sans" panose="020B0606030504020204" pitchFamily="34" charset="0"/>
              </a:rPr>
              <a:t>Kristy Marie Wolske</a:t>
            </a:r>
            <a:r>
              <a:rPr lang="en-US" b="0" i="0">
                <a:solidFill>
                  <a:srgbClr val="000000"/>
                </a:solidFill>
                <a:effectLst/>
                <a:latin typeface="Open Sans" panose="020B0606030504020204" pitchFamily="34" charset="0"/>
              </a:rPr>
              <a:t> et al. </a:t>
            </a:r>
            <a:r>
              <a:rPr lang="en-US" b="0" i="0" u="none" strike="noStrike">
                <a:solidFill>
                  <a:srgbClr val="AAAAAA"/>
                </a:solidFill>
                <a:effectLst/>
                <a:latin typeface="Open Sans" panose="020B0606030504020204" pitchFamily="34" charset="0"/>
                <a:hlinkClick r:id="rId3"/>
              </a:rPr>
              <a:t>Chronic Pancreatitis or Pancreatic Tumor? A Problem-solving Approach</a:t>
            </a:r>
            <a:r>
              <a:rPr lang="en-US" b="0" i="0" u="none" strike="noStrike">
                <a:solidFill>
                  <a:srgbClr val="AAAAAA"/>
                </a:solidFill>
                <a:effectLst/>
                <a:latin typeface="Open Sans" panose="020B0606030504020204" pitchFamily="34" charset="0"/>
              </a:rPr>
              <a:t>. </a:t>
            </a:r>
            <a:r>
              <a:rPr lang="vi-VN" b="0" i="0">
                <a:solidFill>
                  <a:srgbClr val="000000"/>
                </a:solidFill>
                <a:effectLst/>
                <a:latin typeface="Open Sans" panose="020B0606030504020204" pitchFamily="34" charset="0"/>
              </a:rPr>
              <a:t>RadioGraphics 2019 39:7, 1965-1982: </a:t>
            </a:r>
            <a:endParaRPr lang="en-US" b="0" i="0">
              <a:solidFill>
                <a:srgbClr val="000000"/>
              </a:solidFill>
              <a:effectLst/>
              <a:latin typeface="Open Sans" panose="020B0606030504020204" pitchFamily="34" charset="0"/>
            </a:endParaRPr>
          </a:p>
          <a:p>
            <a:r>
              <a:rPr lang="en-US" b="0" i="0">
                <a:solidFill>
                  <a:srgbClr val="000000"/>
                </a:solidFill>
                <a:effectLst/>
                <a:latin typeface="Open Sans" panose="020B0606030504020204" pitchFamily="34" charset="0"/>
              </a:rPr>
              <a:t>In the absence of a visualized mass at CT, focal pancreatic duct dilatation, mild peripancreatic infiltration, peritumoral cysts, or soft tissue around the celiac artery suggest the possibility of an occult malignancy (</a:t>
            </a:r>
            <a:r>
              <a:rPr lang="en-US" b="1" i="0" u="none" strike="noStrike">
                <a:solidFill>
                  <a:srgbClr val="AC012B"/>
                </a:solidFill>
                <a:effectLst/>
                <a:latin typeface="Open Sans" panose="020B0606030504020204" pitchFamily="34" charset="0"/>
                <a:hlinkClick r:id="rId4"/>
              </a:rPr>
              <a:t>29</a:t>
            </a:r>
            <a:r>
              <a:rPr lang="en-US" b="0" i="0">
                <a:solidFill>
                  <a:srgbClr val="000000"/>
                </a:solidFill>
                <a:effectLst/>
                <a:latin typeface="Open Sans" panose="020B0606030504020204" pitchFamily="34" charset="0"/>
              </a:rPr>
              <a:t>,</a:t>
            </a:r>
            <a:r>
              <a:rPr lang="en-US" b="1" i="0" u="none" strike="noStrike">
                <a:solidFill>
                  <a:srgbClr val="AC012B"/>
                </a:solidFill>
                <a:effectLst/>
                <a:latin typeface="Open Sans" panose="020B0606030504020204" pitchFamily="34" charset="0"/>
                <a:hlinkClick r:id="rId5"/>
              </a:rPr>
              <a:t>32</a:t>
            </a:r>
            <a:r>
              <a:rPr lang="en-US" b="0" i="0">
                <a:solidFill>
                  <a:srgbClr val="000000"/>
                </a:solidFill>
                <a:effectLst/>
                <a:latin typeface="Open Sans" panose="020B0606030504020204" pitchFamily="34" charset="0"/>
              </a:rPr>
              <a:t>). When a secondary sign is present without a visible mass, further investigation with MRI or endoscopic US should be recommended </a:t>
            </a:r>
          </a:p>
          <a:p>
            <a:r>
              <a:rPr lang="en-US" b="0" i="0">
                <a:solidFill>
                  <a:srgbClr val="000000"/>
                </a:solidFill>
                <a:effectLst/>
                <a:latin typeface="Open Sans" panose="020B0606030504020204" pitchFamily="34" charset="0"/>
              </a:rPr>
              <a:t>Cận lâm sàng đầu tay khi nghi ngờ u quanh bóng vater là siêu âm bụng tính sẵn có dễ thực hiện, tuy nhiên độ nhạy trong trực tiếp nhìn thấy u không cao, độ nhạy cao hơn với các u lớn. Ngoài ra SA âm có thể thấy dấu hiệu gián tiếp của u là giãn đường mật trong và ngoài gan. Khi nghi ngờ u quanh bóng vater, dù kết quả SA trả lời thấy hay không thấy u, CT bụng cản quang là cận lâm sàng tiếp theo được KC sử dụng, CT giúp chẩn đoán có u hay không và giúp trả lời u cơ quan nào. uptodate 2022 KC có thể dùng CT đầu tay khi BN đau tv, sụt cân và không có vàng da. Protocol tụy được khuyến cáo chụp để quan sát tỏn thương tụy chính xác hơn. protocol tụy là? </a:t>
            </a:r>
          </a:p>
          <a:p>
            <a:endParaRPr lang="vi-VN"/>
          </a:p>
          <a:p>
            <a:r>
              <a:rPr lang="vi-VN"/>
              <a:t>Hình ung thư đoạn cuối OMC</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12</a:t>
            </a:fld>
            <a:endParaRPr lang="en-ID"/>
          </a:p>
        </p:txBody>
      </p:sp>
    </p:spTree>
    <p:extLst>
      <p:ext uri="{BB962C8B-B14F-4D97-AF65-F5344CB8AC3E}">
        <p14:creationId xmlns:p14="http://schemas.microsoft.com/office/powerpoint/2010/main" val="20310814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b="0" i="0" dirty="0">
                <a:solidFill>
                  <a:srgbClr val="212121"/>
                </a:solidFill>
                <a:effectLst/>
                <a:latin typeface="Roboto" panose="02000000000000000000" pitchFamily="2" charset="0"/>
              </a:rPr>
              <a:t>Shrikhande SV, Barreto SG, Goel M, Arya S. Multimodality imaging of pancreatic ductal adenocarcinoma: a review of the literature. HPB (Oxford). 2012 Oct;14(10):658-68 </a:t>
            </a:r>
            <a:endParaRPr lang="vi-VN" b="0" i="0" dirty="0">
              <a:solidFill>
                <a:srgbClr val="000000"/>
              </a:solidFill>
              <a:effectLst/>
              <a:latin typeface="Open Sans" panose="020B0606030504020204" pitchFamily="34" charset="0"/>
            </a:endParaRPr>
          </a:p>
          <a:p>
            <a:r>
              <a:rPr lang="vi-VN" b="0" i="0" dirty="0">
                <a:solidFill>
                  <a:srgbClr val="000000"/>
                </a:solidFill>
                <a:effectLst/>
                <a:latin typeface="Open Sans" panose="020B0606030504020204" pitchFamily="34" charset="0"/>
              </a:rPr>
              <a:t>Kristy Marie Wolske</a:t>
            </a:r>
            <a:r>
              <a:rPr lang="en-US" b="0" i="0" dirty="0">
                <a:solidFill>
                  <a:srgbClr val="000000"/>
                </a:solidFill>
                <a:effectLst/>
                <a:latin typeface="Open Sans" panose="020B0606030504020204" pitchFamily="34" charset="0"/>
              </a:rPr>
              <a:t> et al. </a:t>
            </a:r>
            <a:r>
              <a:rPr lang="en-US" b="0" i="0" u="none" strike="noStrike" dirty="0">
                <a:solidFill>
                  <a:srgbClr val="AAAAAA"/>
                </a:solidFill>
                <a:effectLst/>
                <a:latin typeface="Open Sans" panose="020B0606030504020204" pitchFamily="34" charset="0"/>
                <a:hlinkClick r:id="rId3"/>
              </a:rPr>
              <a:t>Chronic Pancreatitis or Pancreatic Tumor? A Problem-solving Approach</a:t>
            </a:r>
            <a:r>
              <a:rPr lang="en-US" b="0" i="0" u="none" strike="noStrike" dirty="0">
                <a:solidFill>
                  <a:srgbClr val="AAAAAA"/>
                </a:solidFill>
                <a:effectLst/>
                <a:latin typeface="Open Sans" panose="020B0606030504020204" pitchFamily="34" charset="0"/>
              </a:rPr>
              <a:t>. </a:t>
            </a:r>
            <a:r>
              <a:rPr lang="vi-VN" b="0" i="0" dirty="0">
                <a:solidFill>
                  <a:srgbClr val="000000"/>
                </a:solidFill>
                <a:effectLst/>
                <a:latin typeface="Open Sans" panose="020B0606030504020204" pitchFamily="34" charset="0"/>
              </a:rPr>
              <a:t>RadioGraphics 2019 39:7, 1965-1982: </a:t>
            </a:r>
            <a:endParaRPr lang="en-US" b="0" i="0" dirty="0">
              <a:solidFill>
                <a:srgbClr val="000000"/>
              </a:solidFill>
              <a:effectLst/>
              <a:latin typeface="Open Sans" panose="020B0606030504020204" pitchFamily="34" charset="0"/>
            </a:endParaRPr>
          </a:p>
          <a:p>
            <a:r>
              <a:rPr lang="en-US" b="0" i="0" dirty="0">
                <a:solidFill>
                  <a:srgbClr val="000000"/>
                </a:solidFill>
                <a:effectLst/>
                <a:latin typeface="Open Sans" panose="020B0606030504020204" pitchFamily="34" charset="0"/>
              </a:rPr>
              <a:t>In the absence of a visualized mass at CT, focal pancreatic duct dilatation, mild peripancreatic infiltration, peritumoral cysts, or soft tissue around the celiac artery suggest the possibility of an occult malignancy (</a:t>
            </a:r>
            <a:r>
              <a:rPr lang="en-US" b="1" i="0" u="none" strike="noStrike" dirty="0">
                <a:solidFill>
                  <a:srgbClr val="AC012B"/>
                </a:solidFill>
                <a:effectLst/>
                <a:latin typeface="Open Sans" panose="020B0606030504020204" pitchFamily="34" charset="0"/>
                <a:hlinkClick r:id="rId4"/>
              </a:rPr>
              <a:t>29</a:t>
            </a:r>
            <a:r>
              <a:rPr lang="en-US" b="0" i="0" dirty="0">
                <a:solidFill>
                  <a:srgbClr val="000000"/>
                </a:solidFill>
                <a:effectLst/>
                <a:latin typeface="Open Sans" panose="020B0606030504020204" pitchFamily="34" charset="0"/>
              </a:rPr>
              <a:t>,</a:t>
            </a:r>
            <a:r>
              <a:rPr lang="en-US" b="1" i="0" u="none" strike="noStrike" dirty="0">
                <a:solidFill>
                  <a:srgbClr val="AC012B"/>
                </a:solidFill>
                <a:effectLst/>
                <a:latin typeface="Open Sans" panose="020B0606030504020204" pitchFamily="34" charset="0"/>
                <a:hlinkClick r:id="rId5"/>
              </a:rPr>
              <a:t>32</a:t>
            </a:r>
            <a:r>
              <a:rPr lang="en-US" b="0" i="0" dirty="0">
                <a:solidFill>
                  <a:srgbClr val="000000"/>
                </a:solidFill>
                <a:effectLst/>
                <a:latin typeface="Open Sans" panose="020B0606030504020204" pitchFamily="34" charset="0"/>
              </a:rPr>
              <a:t>). When a secondary sign is present without a visible mass, further investigation with MRI or endoscopic US should be recommended </a:t>
            </a:r>
          </a:p>
          <a:p>
            <a:r>
              <a:rPr lang="en-US" b="0" i="0" dirty="0">
                <a:solidFill>
                  <a:srgbClr val="000000"/>
                </a:solidFill>
                <a:effectLst/>
                <a:latin typeface="Open Sans" panose="020B0606030504020204" pitchFamily="34" charset="0"/>
              </a:rPr>
              <a:t>. Khi </a:t>
            </a:r>
            <a:r>
              <a:rPr lang="en-US" b="0" i="0" dirty="0" err="1">
                <a:solidFill>
                  <a:srgbClr val="000000"/>
                </a:solidFill>
                <a:effectLst/>
                <a:latin typeface="Open Sans" panose="020B0606030504020204" pitchFamily="34" charset="0"/>
              </a:rPr>
              <a:t>nghi</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ngờ</a:t>
            </a:r>
            <a:r>
              <a:rPr lang="en-US" b="0" i="0" dirty="0">
                <a:solidFill>
                  <a:srgbClr val="000000"/>
                </a:solidFill>
                <a:effectLst/>
                <a:latin typeface="Open Sans" panose="020B0606030504020204" pitchFamily="34" charset="0"/>
              </a:rPr>
              <a:t> u </a:t>
            </a:r>
            <a:r>
              <a:rPr lang="en-US" b="0" i="0" dirty="0" err="1">
                <a:solidFill>
                  <a:srgbClr val="000000"/>
                </a:solidFill>
                <a:effectLst/>
                <a:latin typeface="Open Sans" panose="020B0606030504020204" pitchFamily="34" charset="0"/>
              </a:rPr>
              <a:t>quanh</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bó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vater</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dù</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kết</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quả</a:t>
            </a:r>
            <a:r>
              <a:rPr lang="en-US" b="0" i="0" dirty="0">
                <a:solidFill>
                  <a:srgbClr val="000000"/>
                </a:solidFill>
                <a:effectLst/>
                <a:latin typeface="Open Sans" panose="020B0606030504020204" pitchFamily="34" charset="0"/>
              </a:rPr>
              <a:t> SA </a:t>
            </a:r>
            <a:r>
              <a:rPr lang="en-US" b="0" i="0" dirty="0" err="1">
                <a:solidFill>
                  <a:srgbClr val="000000"/>
                </a:solidFill>
                <a:effectLst/>
                <a:latin typeface="Open Sans" panose="020B0606030504020204" pitchFamily="34" charset="0"/>
              </a:rPr>
              <a:t>trả</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lời</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hấy</a:t>
            </a:r>
            <a:r>
              <a:rPr lang="en-US" b="0" i="0" dirty="0">
                <a:solidFill>
                  <a:srgbClr val="000000"/>
                </a:solidFill>
                <a:effectLst/>
                <a:latin typeface="Open Sans" panose="020B0606030504020204" pitchFamily="34" charset="0"/>
              </a:rPr>
              <a:t> hay </a:t>
            </a:r>
            <a:r>
              <a:rPr lang="en-US" b="0" i="0" dirty="0" err="1">
                <a:solidFill>
                  <a:srgbClr val="000000"/>
                </a:solidFill>
                <a:effectLst/>
                <a:latin typeface="Open Sans" panose="020B0606030504020204" pitchFamily="34" charset="0"/>
              </a:rPr>
              <a:t>khô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hấy</a:t>
            </a:r>
            <a:r>
              <a:rPr lang="en-US" b="0" i="0" dirty="0">
                <a:solidFill>
                  <a:srgbClr val="000000"/>
                </a:solidFill>
                <a:effectLst/>
                <a:latin typeface="Open Sans" panose="020B0606030504020204" pitchFamily="34" charset="0"/>
              </a:rPr>
              <a:t> u, CT </a:t>
            </a:r>
            <a:r>
              <a:rPr lang="en-US" b="0" i="0" dirty="0" err="1">
                <a:solidFill>
                  <a:srgbClr val="000000"/>
                </a:solidFill>
                <a:effectLst/>
                <a:latin typeface="Open Sans" panose="020B0606030504020204" pitchFamily="34" charset="0"/>
              </a:rPr>
              <a:t>bụ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ả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qua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là</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ậ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lâm</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sà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iếp</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heo</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được</a:t>
            </a:r>
            <a:r>
              <a:rPr lang="en-US" b="0" i="0" dirty="0">
                <a:solidFill>
                  <a:srgbClr val="000000"/>
                </a:solidFill>
                <a:effectLst/>
                <a:latin typeface="Open Sans" panose="020B0606030504020204" pitchFamily="34" charset="0"/>
              </a:rPr>
              <a:t> KC </a:t>
            </a:r>
            <a:r>
              <a:rPr lang="en-US" b="0" i="0" dirty="0" err="1">
                <a:solidFill>
                  <a:srgbClr val="000000"/>
                </a:solidFill>
                <a:effectLst/>
                <a:latin typeface="Open Sans" panose="020B0606030504020204" pitchFamily="34" charset="0"/>
              </a:rPr>
              <a:t>sử</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dụng</a:t>
            </a:r>
            <a:r>
              <a:rPr lang="en-US" b="0" i="0" dirty="0">
                <a:solidFill>
                  <a:srgbClr val="000000"/>
                </a:solidFill>
                <a:effectLst/>
                <a:latin typeface="Open Sans" panose="020B0606030504020204" pitchFamily="34" charset="0"/>
              </a:rPr>
              <a:t>, CT </a:t>
            </a:r>
            <a:r>
              <a:rPr lang="en-US" b="0" i="0" dirty="0" err="1">
                <a:solidFill>
                  <a:srgbClr val="000000"/>
                </a:solidFill>
                <a:effectLst/>
                <a:latin typeface="Open Sans" panose="020B0606030504020204" pitchFamily="34" charset="0"/>
              </a:rPr>
              <a:t>giúp</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hẩ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đoá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ó</a:t>
            </a:r>
            <a:r>
              <a:rPr lang="en-US" b="0" i="0" dirty="0">
                <a:solidFill>
                  <a:srgbClr val="000000"/>
                </a:solidFill>
                <a:effectLst/>
                <a:latin typeface="Open Sans" panose="020B0606030504020204" pitchFamily="34" charset="0"/>
              </a:rPr>
              <a:t> u hay </a:t>
            </a:r>
            <a:r>
              <a:rPr lang="en-US" b="0" i="0" dirty="0" err="1">
                <a:solidFill>
                  <a:srgbClr val="000000"/>
                </a:solidFill>
                <a:effectLst/>
                <a:latin typeface="Open Sans" panose="020B0606030504020204" pitchFamily="34" charset="0"/>
              </a:rPr>
              <a:t>khô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và</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giúp</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rả</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lời</a:t>
            </a:r>
            <a:r>
              <a:rPr lang="en-US" b="0" i="0" dirty="0">
                <a:solidFill>
                  <a:srgbClr val="000000"/>
                </a:solidFill>
                <a:effectLst/>
                <a:latin typeface="Open Sans" panose="020B0606030504020204" pitchFamily="34" charset="0"/>
              </a:rPr>
              <a:t> u </a:t>
            </a:r>
            <a:r>
              <a:rPr lang="en-US" b="0" i="0" dirty="0" err="1">
                <a:solidFill>
                  <a:srgbClr val="000000"/>
                </a:solidFill>
                <a:effectLst/>
                <a:latin typeface="Open Sans" panose="020B0606030504020204" pitchFamily="34" charset="0"/>
              </a:rPr>
              <a:t>cơ</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qua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nào</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uptodate</a:t>
            </a:r>
            <a:r>
              <a:rPr lang="en-US" b="0" i="0" dirty="0">
                <a:solidFill>
                  <a:srgbClr val="000000"/>
                </a:solidFill>
                <a:effectLst/>
                <a:latin typeface="Open Sans" panose="020B0606030504020204" pitchFamily="34" charset="0"/>
              </a:rPr>
              <a:t> 2022 KC </a:t>
            </a:r>
            <a:r>
              <a:rPr lang="en-US" b="0" i="0" dirty="0" err="1">
                <a:solidFill>
                  <a:srgbClr val="000000"/>
                </a:solidFill>
                <a:effectLst/>
                <a:latin typeface="Open Sans" panose="020B0606030504020204" pitchFamily="34" charset="0"/>
              </a:rPr>
              <a:t>có</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hể</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dùng</a:t>
            </a:r>
            <a:r>
              <a:rPr lang="en-US" b="0" i="0" dirty="0">
                <a:solidFill>
                  <a:srgbClr val="000000"/>
                </a:solidFill>
                <a:effectLst/>
                <a:latin typeface="Open Sans" panose="020B0606030504020204" pitchFamily="34" charset="0"/>
              </a:rPr>
              <a:t> CT </a:t>
            </a:r>
            <a:r>
              <a:rPr lang="en-US" b="0" i="0" dirty="0" err="1">
                <a:solidFill>
                  <a:srgbClr val="000000"/>
                </a:solidFill>
                <a:effectLst/>
                <a:latin typeface="Open Sans" panose="020B0606030504020204" pitchFamily="34" charset="0"/>
              </a:rPr>
              <a:t>đầu</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ay</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khi</a:t>
            </a:r>
            <a:r>
              <a:rPr lang="en-US" b="0" i="0" dirty="0">
                <a:solidFill>
                  <a:srgbClr val="000000"/>
                </a:solidFill>
                <a:effectLst/>
                <a:latin typeface="Open Sans" panose="020B0606030504020204" pitchFamily="34" charset="0"/>
              </a:rPr>
              <a:t> BN </a:t>
            </a:r>
            <a:r>
              <a:rPr lang="en-US" b="0" i="0" dirty="0" err="1">
                <a:solidFill>
                  <a:srgbClr val="000000"/>
                </a:solidFill>
                <a:effectLst/>
                <a:latin typeface="Open Sans" panose="020B0606030504020204" pitchFamily="34" charset="0"/>
              </a:rPr>
              <a:t>đau</a:t>
            </a:r>
            <a:r>
              <a:rPr lang="en-US" b="0" i="0" dirty="0">
                <a:solidFill>
                  <a:srgbClr val="000000"/>
                </a:solidFill>
                <a:effectLst/>
                <a:latin typeface="Open Sans" panose="020B0606030504020204" pitchFamily="34" charset="0"/>
              </a:rPr>
              <a:t> tv, </a:t>
            </a:r>
            <a:r>
              <a:rPr lang="en-US" b="0" i="0" dirty="0" err="1">
                <a:solidFill>
                  <a:srgbClr val="000000"/>
                </a:solidFill>
                <a:effectLst/>
                <a:latin typeface="Open Sans" panose="020B0606030504020204" pitchFamily="34" charset="0"/>
              </a:rPr>
              <a:t>sụt</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â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và</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khô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ó</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vàng</a:t>
            </a:r>
            <a:r>
              <a:rPr lang="en-US" b="0" i="0" dirty="0">
                <a:solidFill>
                  <a:srgbClr val="000000"/>
                </a:solidFill>
                <a:effectLst/>
                <a:latin typeface="Open Sans" panose="020B0606030504020204" pitchFamily="34" charset="0"/>
              </a:rPr>
              <a:t> da. Protocol </a:t>
            </a:r>
            <a:r>
              <a:rPr lang="en-US" b="0" i="0" dirty="0" err="1">
                <a:solidFill>
                  <a:srgbClr val="000000"/>
                </a:solidFill>
                <a:effectLst/>
                <a:latin typeface="Open Sans" panose="020B0606030504020204" pitchFamily="34" charset="0"/>
              </a:rPr>
              <a:t>tụy</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được</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khuyế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áo</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hụp</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để</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qua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sát</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ỏn</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hương</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tụy</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chính</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xác</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hơn</a:t>
            </a:r>
            <a:r>
              <a:rPr lang="en-US" b="0" i="0" dirty="0">
                <a:solidFill>
                  <a:srgbClr val="000000"/>
                </a:solidFill>
                <a:effectLst/>
                <a:latin typeface="Open Sans" panose="020B0606030504020204" pitchFamily="34" charset="0"/>
              </a:rPr>
              <a:t>. protocol </a:t>
            </a:r>
            <a:r>
              <a:rPr lang="en-US" b="0" i="0" dirty="0" err="1">
                <a:solidFill>
                  <a:srgbClr val="000000"/>
                </a:solidFill>
                <a:effectLst/>
                <a:latin typeface="Open Sans" panose="020B0606030504020204" pitchFamily="34" charset="0"/>
              </a:rPr>
              <a:t>tụy</a:t>
            </a:r>
            <a:r>
              <a:rPr lang="en-US" b="0" i="0" dirty="0">
                <a:solidFill>
                  <a:srgbClr val="000000"/>
                </a:solidFill>
                <a:effectLst/>
                <a:latin typeface="Open Sans" panose="020B0606030504020204" pitchFamily="34" charset="0"/>
              </a:rPr>
              <a:t> </a:t>
            </a:r>
            <a:r>
              <a:rPr lang="en-US" b="0" i="0" dirty="0" err="1">
                <a:solidFill>
                  <a:srgbClr val="000000"/>
                </a:solidFill>
                <a:effectLst/>
                <a:latin typeface="Open Sans" panose="020B0606030504020204" pitchFamily="34" charset="0"/>
              </a:rPr>
              <a:t>là</a:t>
            </a:r>
            <a:r>
              <a:rPr lang="en-US" b="0" i="0" dirty="0">
                <a:solidFill>
                  <a:srgbClr val="000000"/>
                </a:solidFill>
                <a:effectLst/>
                <a:latin typeface="Open Sans" panose="020B0606030504020204" pitchFamily="34" charset="0"/>
              </a:rPr>
              <a:t>? </a:t>
            </a:r>
            <a:endParaRPr lang="vi-VN" dirty="0"/>
          </a:p>
          <a:p>
            <a:r>
              <a:rPr lang="en-ID" dirty="0" err="1"/>
              <a:t>Chụp</a:t>
            </a:r>
            <a:r>
              <a:rPr lang="en-ID" dirty="0"/>
              <a:t> CT </a:t>
            </a:r>
            <a:r>
              <a:rPr lang="en-ID" dirty="0" err="1"/>
              <a:t>với</a:t>
            </a:r>
            <a:r>
              <a:rPr lang="en-ID" dirty="0"/>
              <a:t> 2 </a:t>
            </a:r>
            <a:r>
              <a:rPr lang="en-ID" dirty="0" err="1"/>
              <a:t>thì</a:t>
            </a:r>
            <a:r>
              <a:rPr lang="en-ID" dirty="0"/>
              <a:t> </a:t>
            </a:r>
            <a:r>
              <a:rPr lang="en-ID" dirty="0" err="1"/>
              <a:t>quan</a:t>
            </a:r>
            <a:r>
              <a:rPr lang="en-ID" dirty="0"/>
              <a:t> </a:t>
            </a:r>
            <a:r>
              <a:rPr lang="en-ID" dirty="0" err="1"/>
              <a:t>trọng</a:t>
            </a:r>
            <a:r>
              <a:rPr lang="en-ID" dirty="0"/>
              <a:t> </a:t>
            </a:r>
            <a:r>
              <a:rPr lang="en-ID" dirty="0" err="1"/>
              <a:t>để</a:t>
            </a:r>
            <a:r>
              <a:rPr lang="en-ID" dirty="0"/>
              <a:t> </a:t>
            </a:r>
            <a:r>
              <a:rPr lang="en-ID" dirty="0" err="1"/>
              <a:t>đánh</a:t>
            </a:r>
            <a:r>
              <a:rPr lang="en-ID" dirty="0"/>
              <a:t> </a:t>
            </a:r>
            <a:r>
              <a:rPr lang="en-ID" dirty="0" err="1"/>
              <a:t>giá</a:t>
            </a:r>
            <a:r>
              <a:rPr lang="en-ID" dirty="0"/>
              <a:t> </a:t>
            </a:r>
            <a:r>
              <a:rPr lang="en-ID" dirty="0" err="1"/>
              <a:t>tốt</a:t>
            </a:r>
            <a:r>
              <a:rPr lang="en-ID" dirty="0"/>
              <a:t> </a:t>
            </a:r>
            <a:r>
              <a:rPr lang="en-ID" dirty="0" err="1"/>
              <a:t>nhất</a:t>
            </a:r>
            <a:r>
              <a:rPr lang="en-ID" dirty="0"/>
              <a:t> </a:t>
            </a:r>
            <a:r>
              <a:rPr lang="en-ID" dirty="0" err="1"/>
              <a:t>tổn</a:t>
            </a:r>
            <a:r>
              <a:rPr lang="en-ID" dirty="0"/>
              <a:t> </a:t>
            </a:r>
            <a:r>
              <a:rPr lang="en-ID" dirty="0" err="1"/>
              <a:t>thương</a:t>
            </a:r>
            <a:r>
              <a:rPr lang="en-ID" dirty="0"/>
              <a:t> </a:t>
            </a:r>
            <a:r>
              <a:rPr lang="en-ID" dirty="0" err="1"/>
              <a:t>tụy</a:t>
            </a:r>
            <a:r>
              <a:rPr lang="en-ID" dirty="0"/>
              <a:t>: phase </a:t>
            </a:r>
            <a:r>
              <a:rPr lang="en-ID" dirty="0" err="1"/>
              <a:t>tụy</a:t>
            </a:r>
            <a:r>
              <a:rPr lang="en-ID" dirty="0"/>
              <a:t> </a:t>
            </a:r>
            <a:r>
              <a:rPr lang="en-ID" dirty="0" err="1"/>
              <a:t>và</a:t>
            </a:r>
            <a:r>
              <a:rPr lang="en-ID" dirty="0"/>
              <a:t> phase </a:t>
            </a:r>
            <a:r>
              <a:rPr lang="en-ID" dirty="0" err="1"/>
              <a:t>tĩnh</a:t>
            </a:r>
            <a:r>
              <a:rPr lang="en-ID" dirty="0"/>
              <a:t> </a:t>
            </a:r>
            <a:r>
              <a:rPr lang="en-ID" dirty="0" err="1"/>
              <a:t>mạch</a:t>
            </a:r>
            <a:r>
              <a:rPr lang="en-ID" dirty="0"/>
              <a:t>, </a:t>
            </a:r>
            <a:r>
              <a:rPr lang="en-ID" dirty="0" err="1"/>
              <a:t>các</a:t>
            </a:r>
            <a:r>
              <a:rPr lang="en-ID" dirty="0"/>
              <a:t> phase </a:t>
            </a:r>
            <a:r>
              <a:rPr lang="en-ID" dirty="0" err="1"/>
              <a:t>không</a:t>
            </a:r>
            <a:r>
              <a:rPr lang="en-ID" dirty="0"/>
              <a:t> </a:t>
            </a:r>
            <a:r>
              <a:rPr lang="en-ID" dirty="0" err="1"/>
              <a:t>thuốc</a:t>
            </a:r>
            <a:r>
              <a:rPr lang="en-ID" dirty="0"/>
              <a:t>, </a:t>
            </a:r>
            <a:r>
              <a:rPr lang="en-ID" dirty="0" err="1"/>
              <a:t>động</a:t>
            </a:r>
            <a:r>
              <a:rPr lang="en-ID" dirty="0"/>
              <a:t> </a:t>
            </a:r>
            <a:r>
              <a:rPr lang="en-ID" dirty="0" err="1"/>
              <a:t>mạch</a:t>
            </a:r>
            <a:r>
              <a:rPr lang="en-ID" dirty="0"/>
              <a:t>, </a:t>
            </a:r>
            <a:r>
              <a:rPr lang="en-ID" dirty="0" err="1"/>
              <a:t>pha</a:t>
            </a:r>
            <a:r>
              <a:rPr lang="en-ID" dirty="0"/>
              <a:t> </a:t>
            </a:r>
            <a:r>
              <a:rPr lang="en-ID" dirty="0" err="1"/>
              <a:t>muộn</a:t>
            </a:r>
            <a:r>
              <a:rPr lang="en-ID" dirty="0"/>
              <a:t> </a:t>
            </a:r>
            <a:r>
              <a:rPr lang="en-ID" dirty="0" err="1"/>
              <a:t>cũng</a:t>
            </a:r>
            <a:r>
              <a:rPr lang="en-ID" dirty="0"/>
              <a:t> </a:t>
            </a:r>
            <a:r>
              <a:rPr lang="en-ID" dirty="0" err="1"/>
              <a:t>nên</a:t>
            </a:r>
            <a:r>
              <a:rPr lang="en-ID" dirty="0"/>
              <a:t> </a:t>
            </a:r>
            <a:r>
              <a:rPr lang="en-ID" dirty="0" err="1"/>
              <a:t>được</a:t>
            </a:r>
            <a:r>
              <a:rPr lang="en-ID" dirty="0"/>
              <a:t> </a:t>
            </a:r>
            <a:r>
              <a:rPr lang="en-ID" dirty="0" err="1"/>
              <a:t>chụp</a:t>
            </a:r>
            <a:r>
              <a:rPr lang="en-ID" dirty="0"/>
              <a:t> </a:t>
            </a:r>
            <a:r>
              <a:rPr lang="en-ID" dirty="0" err="1"/>
              <a:t>để</a:t>
            </a:r>
            <a:r>
              <a:rPr lang="en-ID" dirty="0"/>
              <a:t> </a:t>
            </a:r>
            <a:r>
              <a:rPr lang="en-ID" dirty="0" err="1"/>
              <a:t>đánh</a:t>
            </a:r>
            <a:r>
              <a:rPr lang="en-ID" dirty="0"/>
              <a:t> </a:t>
            </a:r>
            <a:r>
              <a:rPr lang="en-ID" dirty="0" err="1"/>
              <a:t>giá</a:t>
            </a:r>
            <a:r>
              <a:rPr lang="en-ID" dirty="0"/>
              <a:t> di </a:t>
            </a:r>
            <a:r>
              <a:rPr lang="en-ID" dirty="0" err="1"/>
              <a:t>căn</a:t>
            </a:r>
            <a:r>
              <a:rPr lang="en-ID" dirty="0"/>
              <a:t> </a:t>
            </a:r>
            <a:r>
              <a:rPr lang="en-ID" dirty="0" err="1"/>
              <a:t>gan</a:t>
            </a:r>
            <a:r>
              <a:rPr lang="en-ID" dirty="0"/>
              <a:t>, </a:t>
            </a:r>
            <a:r>
              <a:rPr lang="en-ID" dirty="0" err="1"/>
              <a:t>các</a:t>
            </a:r>
            <a:r>
              <a:rPr lang="en-ID" dirty="0"/>
              <a:t> u </a:t>
            </a:r>
            <a:r>
              <a:rPr lang="en-ID" dirty="0" err="1"/>
              <a:t>khác</a:t>
            </a:r>
            <a:r>
              <a:rPr lang="en-ID" dirty="0"/>
              <a:t> </a:t>
            </a:r>
            <a:r>
              <a:rPr lang="en-ID" dirty="0" err="1"/>
              <a:t>ở</a:t>
            </a:r>
            <a:r>
              <a:rPr lang="en-ID" dirty="0"/>
              <a:t> </a:t>
            </a:r>
            <a:r>
              <a:rPr lang="en-ID" dirty="0" err="1"/>
              <a:t>tụy</a:t>
            </a:r>
            <a:r>
              <a:rPr lang="en-ID" dirty="0"/>
              <a:t> </a:t>
            </a:r>
            <a:r>
              <a:rPr lang="en-ID" dirty="0" err="1"/>
              <a:t>như</a:t>
            </a:r>
            <a:r>
              <a:rPr lang="en-ID" dirty="0"/>
              <a:t> u TK </a:t>
            </a:r>
            <a:r>
              <a:rPr lang="en-ID" dirty="0" err="1"/>
              <a:t>nội</a:t>
            </a:r>
            <a:r>
              <a:rPr lang="en-ID" dirty="0"/>
              <a:t> </a:t>
            </a:r>
            <a:r>
              <a:rPr lang="en-ID" dirty="0" err="1"/>
              <a:t>tiết</a:t>
            </a:r>
            <a:r>
              <a:rPr lang="en-ID" dirty="0"/>
              <a:t>., </a:t>
            </a:r>
            <a:r>
              <a:rPr lang="en-ID" dirty="0" err="1"/>
              <a:t>đặc</a:t>
            </a:r>
            <a:r>
              <a:rPr lang="en-ID" dirty="0"/>
              <a:t> </a:t>
            </a:r>
            <a:r>
              <a:rPr lang="en-ID" dirty="0" err="1"/>
              <a:t>điểm</a:t>
            </a:r>
            <a:r>
              <a:rPr lang="en-ID" dirty="0"/>
              <a:t> </a:t>
            </a:r>
            <a:r>
              <a:rPr lang="en-ID" dirty="0" err="1"/>
              <a:t>nữa</a:t>
            </a:r>
            <a:r>
              <a:rPr lang="en-ID" dirty="0"/>
              <a:t> </a:t>
            </a:r>
            <a:r>
              <a:rPr lang="en-ID" dirty="0" err="1"/>
              <a:t>trên</a:t>
            </a:r>
            <a:r>
              <a:rPr lang="en-ID" dirty="0"/>
              <a:t> CT protocol </a:t>
            </a:r>
            <a:r>
              <a:rPr lang="en-ID" dirty="0" err="1"/>
              <a:t>tụy</a:t>
            </a:r>
            <a:r>
              <a:rPr lang="en-ID" dirty="0"/>
              <a:t> </a:t>
            </a:r>
            <a:r>
              <a:rPr lang="en-ID" dirty="0" err="1"/>
              <a:t>có</a:t>
            </a:r>
            <a:r>
              <a:rPr lang="en-ID" dirty="0"/>
              <a:t> </a:t>
            </a:r>
            <a:r>
              <a:rPr lang="en-ID" dirty="0" err="1"/>
              <a:t>lát</a:t>
            </a:r>
            <a:r>
              <a:rPr lang="en-ID" dirty="0"/>
              <a:t> </a:t>
            </a:r>
            <a:r>
              <a:rPr lang="en-ID" dirty="0" err="1"/>
              <a:t>cắt</a:t>
            </a:r>
            <a:r>
              <a:rPr lang="en-ID" dirty="0"/>
              <a:t> </a:t>
            </a:r>
            <a:r>
              <a:rPr lang="en-ID" dirty="0" err="1"/>
              <a:t>rất</a:t>
            </a:r>
            <a:r>
              <a:rPr lang="en-ID" dirty="0"/>
              <a:t> </a:t>
            </a:r>
            <a:r>
              <a:rPr lang="en-ID" dirty="0" err="1"/>
              <a:t>mỏng</a:t>
            </a:r>
            <a:r>
              <a:rPr lang="en-ID" dirty="0"/>
              <a:t> </a:t>
            </a:r>
            <a:r>
              <a:rPr lang="en-ID" dirty="0" err="1"/>
              <a:t>dưới</a:t>
            </a:r>
            <a:r>
              <a:rPr lang="en-ID" dirty="0"/>
              <a:t> 1mm </a:t>
            </a:r>
            <a:r>
              <a:rPr lang="en-ID" dirty="0" err="1"/>
              <a:t>giúp</a:t>
            </a:r>
            <a:r>
              <a:rPr lang="en-ID" dirty="0"/>
              <a:t> </a:t>
            </a:r>
            <a:r>
              <a:rPr lang="en-ID" dirty="0" err="1"/>
              <a:t>đánh</a:t>
            </a:r>
            <a:r>
              <a:rPr lang="en-ID" dirty="0"/>
              <a:t> </a:t>
            </a:r>
            <a:r>
              <a:rPr lang="en-ID" dirty="0" err="1"/>
              <a:t>giá</a:t>
            </a:r>
            <a:r>
              <a:rPr lang="en-ID" dirty="0"/>
              <a:t> chi </a:t>
            </a:r>
            <a:r>
              <a:rPr lang="en-ID" dirty="0" err="1"/>
              <a:t>tiết</a:t>
            </a:r>
            <a:r>
              <a:rPr lang="en-ID" dirty="0"/>
              <a:t> </a:t>
            </a:r>
            <a:r>
              <a:rPr lang="en-ID" dirty="0" err="1"/>
              <a:t>hơn</a:t>
            </a:r>
            <a:r>
              <a:rPr lang="en-ID" dirty="0"/>
              <a:t> </a:t>
            </a:r>
            <a:r>
              <a:rPr lang="en-ID" dirty="0" err="1"/>
              <a:t>tình</a:t>
            </a:r>
            <a:r>
              <a:rPr lang="en-ID" dirty="0"/>
              <a:t> </a:t>
            </a:r>
            <a:r>
              <a:rPr lang="en-ID" dirty="0" err="1"/>
              <a:t>trạng</a:t>
            </a:r>
            <a:r>
              <a:rPr lang="en-ID" dirty="0"/>
              <a:t> </a:t>
            </a:r>
            <a:r>
              <a:rPr lang="en-ID" dirty="0" err="1"/>
              <a:t>xâm</a:t>
            </a:r>
            <a:r>
              <a:rPr lang="en-ID" dirty="0"/>
              <a:t> </a:t>
            </a:r>
            <a:r>
              <a:rPr lang="en-ID" dirty="0" err="1"/>
              <a:t>lấn</a:t>
            </a:r>
            <a:r>
              <a:rPr lang="en-ID" dirty="0"/>
              <a:t> </a:t>
            </a:r>
            <a:r>
              <a:rPr lang="en-ID" dirty="0" err="1"/>
              <a:t>của</a:t>
            </a:r>
            <a:r>
              <a:rPr lang="en-ID" dirty="0"/>
              <a:t> </a:t>
            </a:r>
            <a:r>
              <a:rPr lang="en-ID" dirty="0" err="1"/>
              <a:t>khối</a:t>
            </a:r>
            <a:r>
              <a:rPr lang="en-ID" dirty="0"/>
              <a:t> u.</a:t>
            </a:r>
          </a:p>
        </p:txBody>
      </p:sp>
      <p:sp>
        <p:nvSpPr>
          <p:cNvPr id="4" name="Slide Number Placeholder 3"/>
          <p:cNvSpPr>
            <a:spLocks noGrp="1"/>
          </p:cNvSpPr>
          <p:nvPr>
            <p:ph type="sldNum" sz="quarter" idx="5"/>
          </p:nvPr>
        </p:nvSpPr>
        <p:spPr/>
        <p:txBody>
          <a:bodyPr/>
          <a:lstStyle/>
          <a:p>
            <a:fld id="{8670653B-8FC2-4C8E-B0DB-DC6058263EA5}" type="slidenum">
              <a:rPr lang="en-ID" smtClean="0"/>
              <a:t>13</a:t>
            </a:fld>
            <a:endParaRPr lang="en-ID"/>
          </a:p>
        </p:txBody>
      </p:sp>
    </p:spTree>
    <p:extLst>
      <p:ext uri="{BB962C8B-B14F-4D97-AF65-F5344CB8AC3E}">
        <p14:creationId xmlns:p14="http://schemas.microsoft.com/office/powerpoint/2010/main" val="4492081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SCNs: nang đồng đậm độ kích thuocs 1-20mm, vôi hóa thành nang, dạng tổ ong, xuất huyết bên trong</a:t>
            </a:r>
          </a:p>
          <a:p>
            <a:r>
              <a:rPr lang="vi-VN"/>
              <a:t>MCNs: nang to &gt; 20mm, ít nang, giảm đậm độ trên CLVT</a:t>
            </a:r>
          </a:p>
          <a:p>
            <a:r>
              <a:rPr lang="vi-VN"/>
              <a:t>IPMNs: nang lớn, nhiều thnahf vách giảm đậm độ trên CLVT</a:t>
            </a:r>
          </a:p>
          <a:p>
            <a:r>
              <a:rPr lang="vi-VN"/>
              <a:t>Insulinoma: u tăng đậm độ sau tiêm thuốc cản quang</a:t>
            </a:r>
            <a:endParaRPr lang="en-ID"/>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14</a:t>
            </a:fld>
            <a:endParaRPr lang="en-ID"/>
          </a:p>
        </p:txBody>
      </p:sp>
    </p:spTree>
    <p:extLst>
      <p:ext uri="{BB962C8B-B14F-4D97-AF65-F5344CB8AC3E}">
        <p14:creationId xmlns:p14="http://schemas.microsoft.com/office/powerpoint/2010/main" val="3495788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dirty="0" err="1"/>
              <a:t>Pha</a:t>
            </a:r>
            <a:r>
              <a:rPr lang="en-US" dirty="0"/>
              <a:t> </a:t>
            </a:r>
            <a:r>
              <a:rPr lang="en-US" dirty="0" err="1"/>
              <a:t>tụy</a:t>
            </a:r>
            <a:r>
              <a:rPr lang="en-US" dirty="0"/>
              <a:t>: 30-40s </a:t>
            </a:r>
            <a:r>
              <a:rPr lang="en-US" dirty="0" err="1"/>
              <a:t>sau</a:t>
            </a:r>
            <a:r>
              <a:rPr lang="en-US" dirty="0"/>
              <a:t> </a:t>
            </a:r>
            <a:r>
              <a:rPr lang="en-US" dirty="0" err="1"/>
              <a:t>tiêm</a:t>
            </a:r>
            <a:r>
              <a:rPr lang="en-US" dirty="0"/>
              <a:t> </a:t>
            </a:r>
            <a:r>
              <a:rPr lang="en-US" dirty="0" err="1"/>
              <a:t>thuốc</a:t>
            </a:r>
            <a:r>
              <a:rPr lang="en-US" dirty="0"/>
              <a:t> </a:t>
            </a:r>
            <a:r>
              <a:rPr lang="en-US" dirty="0" err="1"/>
              <a:t>cản</a:t>
            </a:r>
            <a:r>
              <a:rPr lang="en-US" dirty="0"/>
              <a:t> </a:t>
            </a:r>
            <a:r>
              <a:rPr lang="en-US" dirty="0" err="1"/>
              <a:t>quan</a:t>
            </a:r>
            <a:r>
              <a:rPr lang="en-US" dirty="0"/>
              <a:t> TM, </a:t>
            </a:r>
            <a:r>
              <a:rPr lang="en-US" dirty="0" err="1"/>
              <a:t>lúc</a:t>
            </a:r>
            <a:r>
              <a:rPr lang="en-US" dirty="0"/>
              <a:t> </a:t>
            </a:r>
            <a:r>
              <a:rPr lang="en-US" dirty="0" err="1"/>
              <a:t>này</a:t>
            </a:r>
            <a:r>
              <a:rPr lang="en-US" dirty="0"/>
              <a:t> </a:t>
            </a:r>
            <a:r>
              <a:rPr lang="en-US" dirty="0" err="1"/>
              <a:t>mô</a:t>
            </a:r>
            <a:r>
              <a:rPr lang="en-US" dirty="0"/>
              <a:t> </a:t>
            </a:r>
            <a:r>
              <a:rPr lang="en-US" dirty="0" err="1"/>
              <a:t>tụy</a:t>
            </a:r>
            <a:r>
              <a:rPr lang="en-US" dirty="0"/>
              <a:t> </a:t>
            </a:r>
            <a:r>
              <a:rPr lang="en-US" dirty="0" err="1"/>
              <a:t>bắt</a:t>
            </a:r>
            <a:r>
              <a:rPr lang="en-US" dirty="0"/>
              <a:t> </a:t>
            </a:r>
            <a:r>
              <a:rPr lang="en-US" dirty="0" err="1"/>
              <a:t>thuốc</a:t>
            </a:r>
            <a:r>
              <a:rPr lang="en-US" dirty="0"/>
              <a:t> </a:t>
            </a:r>
            <a:r>
              <a:rPr lang="en-US" dirty="0" err="1"/>
              <a:t>nhiều</a:t>
            </a:r>
            <a:r>
              <a:rPr lang="en-US" dirty="0"/>
              <a:t> </a:t>
            </a:r>
            <a:r>
              <a:rPr lang="en-US" dirty="0" err="1"/>
              <a:t>nhất</a:t>
            </a:r>
            <a:r>
              <a:rPr lang="en-US" dirty="0"/>
              <a:t> </a:t>
            </a:r>
            <a:r>
              <a:rPr lang="en-US" dirty="0" err="1"/>
              <a:t>trong</a:t>
            </a:r>
            <a:r>
              <a:rPr lang="en-US" dirty="0"/>
              <a:t> </a:t>
            </a:r>
            <a:r>
              <a:rPr lang="en-US" dirty="0" err="1"/>
              <a:t>khi</a:t>
            </a:r>
            <a:r>
              <a:rPr lang="en-US" dirty="0"/>
              <a:t> </a:t>
            </a:r>
            <a:r>
              <a:rPr lang="en-US" dirty="0" err="1"/>
              <a:t>khối</a:t>
            </a:r>
            <a:r>
              <a:rPr lang="en-US" dirty="0"/>
              <a:t> u </a:t>
            </a:r>
            <a:r>
              <a:rPr lang="en-US" dirty="0" err="1"/>
              <a:t>tụy</a:t>
            </a:r>
            <a:r>
              <a:rPr lang="en-US" dirty="0"/>
              <a:t> </a:t>
            </a:r>
            <a:r>
              <a:rPr lang="en-US" dirty="0" err="1"/>
              <a:t>lại</a:t>
            </a:r>
            <a:r>
              <a:rPr lang="en-US" dirty="0"/>
              <a:t> </a:t>
            </a:r>
            <a:r>
              <a:rPr lang="en-US" dirty="0" err="1"/>
              <a:t>không</a:t>
            </a:r>
            <a:r>
              <a:rPr lang="en-US" dirty="0"/>
              <a:t> </a:t>
            </a:r>
            <a:r>
              <a:rPr lang="en-US" dirty="0" err="1"/>
              <a:t>bắt</a:t>
            </a:r>
            <a:r>
              <a:rPr lang="en-US" dirty="0"/>
              <a:t> </a:t>
            </a:r>
            <a:r>
              <a:rPr lang="en-US" dirty="0" err="1"/>
              <a:t>thuốc</a:t>
            </a:r>
            <a:r>
              <a:rPr lang="en-US" dirty="0"/>
              <a:t>.</a:t>
            </a:r>
            <a:br>
              <a:rPr lang="en-US" dirty="0"/>
            </a:br>
            <a:r>
              <a:rPr lang="en-US" b="0" i="0" dirty="0">
                <a:solidFill>
                  <a:srgbClr val="333333"/>
                </a:solidFill>
                <a:effectLst/>
                <a:latin typeface="Cambria" panose="02040503050406030204" pitchFamily="18" charset="0"/>
              </a:rPr>
              <a:t>Pancreatic protocol CT scan showing the early arterial (</a:t>
            </a:r>
            <a:r>
              <a:rPr lang="en-US" b="1" i="0" dirty="0">
                <a:solidFill>
                  <a:srgbClr val="333333"/>
                </a:solidFill>
                <a:effectLst/>
                <a:latin typeface="Cambria" panose="02040503050406030204" pitchFamily="18" charset="0"/>
              </a:rPr>
              <a:t>a</a:t>
            </a:r>
            <a:r>
              <a:rPr lang="en-US" b="0" i="0" dirty="0">
                <a:solidFill>
                  <a:srgbClr val="333333"/>
                </a:solidFill>
                <a:effectLst/>
                <a:latin typeface="Cambria" panose="02040503050406030204" pitchFamily="18" charset="0"/>
              </a:rPr>
              <a:t>), pancreatic parenchymal (</a:t>
            </a:r>
            <a:r>
              <a:rPr lang="en-US" b="1" i="0" dirty="0">
                <a:solidFill>
                  <a:srgbClr val="333333"/>
                </a:solidFill>
                <a:effectLst/>
                <a:latin typeface="Cambria" panose="02040503050406030204" pitchFamily="18" charset="0"/>
              </a:rPr>
              <a:t>b</a:t>
            </a:r>
            <a:r>
              <a:rPr lang="en-US" b="0" i="0" dirty="0">
                <a:solidFill>
                  <a:srgbClr val="333333"/>
                </a:solidFill>
                <a:effectLst/>
                <a:latin typeface="Cambria" panose="02040503050406030204" pitchFamily="18" charset="0"/>
              </a:rPr>
              <a:t>), portal venous (</a:t>
            </a:r>
            <a:r>
              <a:rPr lang="en-US" b="1" i="0" dirty="0">
                <a:solidFill>
                  <a:srgbClr val="333333"/>
                </a:solidFill>
                <a:effectLst/>
                <a:latin typeface="Cambria" panose="02040503050406030204" pitchFamily="18" charset="0"/>
              </a:rPr>
              <a:t>c</a:t>
            </a:r>
            <a:r>
              <a:rPr lang="en-US" b="0" i="0" dirty="0">
                <a:solidFill>
                  <a:srgbClr val="333333"/>
                </a:solidFill>
                <a:effectLst/>
                <a:latin typeface="Cambria" panose="02040503050406030204" pitchFamily="18" charset="0"/>
              </a:rPr>
              <a:t>), and delayed (</a:t>
            </a:r>
            <a:r>
              <a:rPr lang="en-US" b="1" i="0" dirty="0">
                <a:solidFill>
                  <a:srgbClr val="333333"/>
                </a:solidFill>
                <a:effectLst/>
                <a:latin typeface="Cambria" panose="02040503050406030204" pitchFamily="18" charset="0"/>
              </a:rPr>
              <a:t>d</a:t>
            </a:r>
            <a:r>
              <a:rPr lang="en-US" b="0" i="0" dirty="0">
                <a:solidFill>
                  <a:srgbClr val="333333"/>
                </a:solidFill>
                <a:effectLst/>
                <a:latin typeface="Cambria" panose="02040503050406030204" pitchFamily="18" charset="0"/>
              </a:rPr>
              <a:t>) phases. Note the maximum difference in attenuation (hence detectability) between the pancreatic parenchyma and the tumor (</a:t>
            </a:r>
            <a:r>
              <a:rPr lang="en-US" b="0" i="1" dirty="0">
                <a:solidFill>
                  <a:srgbClr val="333333"/>
                </a:solidFill>
                <a:effectLst/>
                <a:latin typeface="Cambria" panose="02040503050406030204" pitchFamily="18" charset="0"/>
              </a:rPr>
              <a:t>solid black arrow</a:t>
            </a:r>
            <a:r>
              <a:rPr lang="en-US" b="0" i="0" dirty="0">
                <a:solidFill>
                  <a:srgbClr val="333333"/>
                </a:solidFill>
                <a:effectLst/>
                <a:latin typeface="Cambria" panose="02040503050406030204" pitchFamily="18" charset="0"/>
              </a:rPr>
              <a:t>) is seen in the </a:t>
            </a:r>
            <a:r>
              <a:rPr lang="en-US" b="1" i="0" dirty="0">
                <a:solidFill>
                  <a:srgbClr val="333333"/>
                </a:solidFill>
                <a:effectLst/>
                <a:latin typeface="Cambria" panose="02040503050406030204" pitchFamily="18" charset="0"/>
              </a:rPr>
              <a:t>b</a:t>
            </a:r>
            <a:r>
              <a:rPr lang="en-US" b="0" i="0" dirty="0">
                <a:solidFill>
                  <a:srgbClr val="333333"/>
                </a:solidFill>
                <a:effectLst/>
                <a:latin typeface="Cambria" panose="02040503050406030204" pitchFamily="18" charset="0"/>
              </a:rPr>
              <a:t> as compared to other phases. The visualization of superior mesenteric artery (</a:t>
            </a:r>
            <a:r>
              <a:rPr lang="en-US" b="0" i="1" dirty="0">
                <a:solidFill>
                  <a:srgbClr val="333333"/>
                </a:solidFill>
                <a:effectLst/>
                <a:latin typeface="Cambria" panose="02040503050406030204" pitchFamily="18" charset="0"/>
              </a:rPr>
              <a:t>straight black arrow</a:t>
            </a:r>
            <a:r>
              <a:rPr lang="en-US" b="0" i="0" dirty="0">
                <a:solidFill>
                  <a:srgbClr val="333333"/>
                </a:solidFill>
                <a:effectLst/>
                <a:latin typeface="Cambria" panose="02040503050406030204" pitchFamily="18" charset="0"/>
              </a:rPr>
              <a:t>) is best in </a:t>
            </a:r>
            <a:r>
              <a:rPr lang="en-US" b="1" i="0" dirty="0">
                <a:solidFill>
                  <a:srgbClr val="333333"/>
                </a:solidFill>
                <a:effectLst/>
                <a:latin typeface="Cambria" panose="02040503050406030204" pitchFamily="18" charset="0"/>
              </a:rPr>
              <a:t>a</a:t>
            </a:r>
            <a:r>
              <a:rPr lang="en-US" b="0" i="0" dirty="0">
                <a:solidFill>
                  <a:srgbClr val="333333"/>
                </a:solidFill>
                <a:effectLst/>
                <a:latin typeface="Cambria" panose="02040503050406030204" pitchFamily="18" charset="0"/>
              </a:rPr>
              <a:t> while that of portal vein (</a:t>
            </a:r>
            <a:r>
              <a:rPr lang="en-US" b="0" i="1" dirty="0">
                <a:solidFill>
                  <a:srgbClr val="333333"/>
                </a:solidFill>
                <a:effectLst/>
                <a:latin typeface="Cambria" panose="02040503050406030204" pitchFamily="18" charset="0"/>
              </a:rPr>
              <a:t>straight white arrow</a:t>
            </a:r>
            <a:r>
              <a:rPr lang="en-US" b="0" i="0" dirty="0">
                <a:solidFill>
                  <a:srgbClr val="333333"/>
                </a:solidFill>
                <a:effectLst/>
                <a:latin typeface="Cambria" panose="02040503050406030204" pitchFamily="18" charset="0"/>
              </a:rPr>
              <a:t>) is best in </a:t>
            </a:r>
            <a:r>
              <a:rPr lang="en-US" b="1" i="0" dirty="0">
                <a:solidFill>
                  <a:srgbClr val="333333"/>
                </a:solidFill>
                <a:effectLst/>
                <a:latin typeface="Cambria" panose="02040503050406030204" pitchFamily="18" charset="0"/>
              </a:rPr>
              <a:t>c</a:t>
            </a:r>
            <a:r>
              <a:rPr lang="en-US" b="0" i="0" dirty="0">
                <a:solidFill>
                  <a:srgbClr val="333333"/>
                </a:solidFill>
                <a:effectLst/>
                <a:latin typeface="Cambria" panose="02040503050406030204" pitchFamily="18" charset="0"/>
              </a:rPr>
              <a:t>. Notably, all these structures are of prime importance for planning of surgery</a:t>
            </a:r>
            <a:endParaRPr lang="vi-VN" dirty="0"/>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15</a:t>
            </a:fld>
            <a:endParaRPr lang="en-ID"/>
          </a:p>
        </p:txBody>
      </p:sp>
    </p:spTree>
    <p:extLst>
      <p:ext uri="{BB962C8B-B14F-4D97-AF65-F5344CB8AC3E}">
        <p14:creationId xmlns:p14="http://schemas.microsoft.com/office/powerpoint/2010/main" val="2562530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a:t>Pancreatic adenocarcinoma in a 68-year-old man who presented with painless jaundice. (a) Coronal contrast-enhanced reformatted CT image obtained in the portal venous phase demonstrates a hypoattenuating mass in the pancreatic head that involves the ampullary region (arrows). There is abrupt termination of the dilated CBD because of the mass. (b) Axial contrast-enhanced CT image obtained in the pancreatic phase demonstrates tumor extension through the ampulla and papilla into the duodenal lumen (arrow).</a:t>
            </a:r>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16</a:t>
            </a:fld>
            <a:endParaRPr lang="en-ID"/>
          </a:p>
        </p:txBody>
      </p:sp>
    </p:spTree>
    <p:extLst>
      <p:ext uri="{BB962C8B-B14F-4D97-AF65-F5344CB8AC3E}">
        <p14:creationId xmlns:p14="http://schemas.microsoft.com/office/powerpoint/2010/main" val="3813668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Chỗ này câu 1 trong sách, câu thứ 2 trong tài liệu dưới, có vẻ câu 1 đang nói về phim không thuốc </a:t>
            </a:r>
          </a:p>
          <a:p>
            <a:r>
              <a:rPr lang="en-US" sz="1200">
                <a:latin typeface="Arial" panose="020B0604020202020204" pitchFamily="34" charset="0"/>
                <a:cs typeface="Arial" panose="020B0604020202020204" pitchFamily="34" charset="0"/>
              </a:rPr>
              <a:t>[1] Nikolaidis, P., Hammond, N. A., Day, K., Yaghmai, V., Wood, C. G., Mosbach, D. S., … Miller, F. H. (2014). Imaging Features of Benign and Malignant Ampullary and Periampullary Lesions. RadioGraphics, 34(3), 624–641.</a:t>
            </a:r>
          </a:p>
          <a:p>
            <a:r>
              <a:rPr lang="en-US" sz="1200">
                <a:latin typeface="Arial" panose="020B0604020202020204" pitchFamily="34" charset="0"/>
                <a:cs typeface="Arial" panose="020B0604020202020204" pitchFamily="34" charset="0"/>
              </a:rPr>
              <a:t>[2] </a:t>
            </a:r>
            <a:r>
              <a:rPr lang="vi-VN" sz="1200">
                <a:latin typeface="Arial" panose="020B0604020202020204" pitchFamily="34" charset="0"/>
                <a:cs typeface="Arial" panose="020B0604020202020204" pitchFamily="34" charset="0"/>
              </a:rPr>
              <a:t>Sunnapwar, Abhijit &amp; Nagar, Arpit &amp; Katre, Rashmi &amp; Khanna, Lokesh &amp; Sayana, Hari. (2021). Imaging of Ampullary and Periampullary Conditions. Journal of Gastrointestinal and Abdominal Radiology. 4. 10.1055/s-0041-1726663. </a:t>
            </a:r>
          </a:p>
          <a:p>
            <a:endParaRPr lang="en-US"/>
          </a:p>
          <a:p>
            <a:r>
              <a:rPr lang="en-US"/>
              <a:t>Dấu hiệu ống đôi thường gặp tuy nhiên dấu hiệu này cũng có thể gặp trong ung đầu tụy, và ung thư tá tràng xâm lấn bóng vater.</a:t>
            </a:r>
            <a:endParaRPr lang="vi-VN"/>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17</a:t>
            </a:fld>
            <a:endParaRPr lang="en-ID"/>
          </a:p>
        </p:txBody>
      </p:sp>
    </p:spTree>
    <p:extLst>
      <p:ext uri="{BB962C8B-B14F-4D97-AF65-F5344CB8AC3E}">
        <p14:creationId xmlns:p14="http://schemas.microsoft.com/office/powerpoint/2010/main" val="22404656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vi-VN"/>
              <a:t>Hình chụp CT cản quang ung thư bóng vater, hình a mặt phẳng cắt ngang, hình b mặt phẳng trán, thấy khu vực bóng vater có cấu trúc dạng khối nhô vào lòng tá tràng.</a:t>
            </a:r>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18</a:t>
            </a:fld>
            <a:endParaRPr lang="en-ID"/>
          </a:p>
        </p:txBody>
      </p:sp>
    </p:spTree>
    <p:extLst>
      <p:ext uri="{BB962C8B-B14F-4D97-AF65-F5344CB8AC3E}">
        <p14:creationId xmlns:p14="http://schemas.microsoft.com/office/powerpoint/2010/main" val="15851794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ăng bắt thuốc thì muộn </a:t>
            </a:r>
          </a:p>
          <a:p>
            <a:r>
              <a:rPr lang="vi-VN"/>
              <a:t>Dạng INTRADUCTAL có xu hướng lan dọc theo omc tạo nên 1 đoạn hẹp dài. </a:t>
            </a: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a:t>Sunnapwar, Abhijit &amp; Nagar, Arpit &amp; Katre, Rashmi &amp; Khanna, Lokesh &amp; Sayana, Hari. (2021). Imaging of Ampullary and Periampullary Conditions. Journal of Gastrointestinal and Abdominal Radiology. 4. 10.1055/s-0041-1726663. </a:t>
            </a:r>
          </a:p>
          <a:p>
            <a:r>
              <a:rPr lang="en-US"/>
              <a:t>.</a:t>
            </a:r>
            <a:endParaRPr lang="vi-VN"/>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19</a:t>
            </a:fld>
            <a:endParaRPr lang="en-ID"/>
          </a:p>
        </p:txBody>
      </p:sp>
    </p:spTree>
    <p:extLst>
      <p:ext uri="{BB962C8B-B14F-4D97-AF65-F5344CB8AC3E}">
        <p14:creationId xmlns:p14="http://schemas.microsoft.com/office/powerpoint/2010/main" val="4087275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2</a:t>
            </a:fld>
            <a:endParaRPr lang="en-ID"/>
          </a:p>
        </p:txBody>
      </p:sp>
    </p:spTree>
    <p:extLst>
      <p:ext uri="{BB962C8B-B14F-4D97-AF65-F5344CB8AC3E}">
        <p14:creationId xmlns:p14="http://schemas.microsoft.com/office/powerpoint/2010/main" val="42839323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vi-VN"/>
              <a:t>Trên hình b, mp trán, Thấy dấu hiệu cắt cụt đột ngột OMC, và tổn thương có đâm độ mô mềm tại vị trí này, hình a mặt cắt ngang của khối u tại vị trí cắt cụt OMC </a:t>
            </a:r>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20</a:t>
            </a:fld>
            <a:endParaRPr lang="en-ID"/>
          </a:p>
        </p:txBody>
      </p:sp>
    </p:spTree>
    <p:extLst>
      <p:ext uri="{BB962C8B-B14F-4D97-AF65-F5344CB8AC3E}">
        <p14:creationId xmlns:p14="http://schemas.microsoft.com/office/powerpoint/2010/main" val="4156367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endParaRPr lang="vi-VN"/>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21</a:t>
            </a:fld>
            <a:endParaRPr lang="en-ID"/>
          </a:p>
        </p:txBody>
      </p:sp>
    </p:spTree>
    <p:extLst>
      <p:ext uri="{BB962C8B-B14F-4D97-AF65-F5344CB8AC3E}">
        <p14:creationId xmlns:p14="http://schemas.microsoft.com/office/powerpoint/2010/main" val="33315215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a:t>Duodenal adenocarcinoma in a 69-year-old man. (a) Axial contrast-enhanced CT image obtained in the arterial phase shows a hypoattenuating mass in the medial wall of the second portion of the duodenum (arrow). (b) Coronal contrast-enhanced reformatted CT image obtained in the arterial phase shows the duodenal mass (arrow), with dilatation of the CBD and pancreatic duct caused by obstruction of the ampulla. </a:t>
            </a:r>
          </a:p>
          <a:p>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22</a:t>
            </a:fld>
            <a:endParaRPr lang="en-ID"/>
          </a:p>
        </p:txBody>
      </p:sp>
    </p:spTree>
    <p:extLst>
      <p:ext uri="{BB962C8B-B14F-4D97-AF65-F5344CB8AC3E}">
        <p14:creationId xmlns:p14="http://schemas.microsoft.com/office/powerpoint/2010/main" val="16790914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endParaRPr lang="vi-VN"/>
          </a:p>
          <a:p>
            <a:r>
              <a:rPr lang="vi-VN" b="0" i="0">
                <a:solidFill>
                  <a:srgbClr val="212121"/>
                </a:solidFill>
                <a:effectLst/>
                <a:latin typeface="Roboto" panose="02000000000000000000" pitchFamily="2" charset="0"/>
              </a:rPr>
              <a:t>Hỗ trợ CT scan, khi:</a:t>
            </a:r>
          </a:p>
          <a:p>
            <a:r>
              <a:rPr lang="vi-VN" b="0" i="0">
                <a:solidFill>
                  <a:srgbClr val="212121"/>
                </a:solidFill>
                <a:effectLst/>
                <a:latin typeface="Roboto" panose="02000000000000000000" pitchFamily="2" charset="0"/>
              </a:rPr>
              <a:t>+  Không thể thực hiện CT cản quang (NCCN 2021)</a:t>
            </a:r>
          </a:p>
          <a:p>
            <a:r>
              <a:rPr lang="vi-VN" b="0" i="0">
                <a:solidFill>
                  <a:srgbClr val="212121"/>
                </a:solidFill>
                <a:effectLst/>
                <a:latin typeface="Roboto" panose="02000000000000000000" pitchFamily="2" charset="0"/>
              </a:rPr>
              <a:t>+ Nghi ngờ nhưng không thấy u trên CT.</a:t>
            </a:r>
          </a:p>
          <a:p>
            <a:r>
              <a:rPr lang="vi-VN" b="0" i="0">
                <a:solidFill>
                  <a:srgbClr val="212121"/>
                </a:solidFill>
                <a:effectLst/>
                <a:latin typeface="Roboto" panose="02000000000000000000" pitchFamily="2" charset="0"/>
              </a:rPr>
              <a:t>=&gt; chụp MRI </a:t>
            </a:r>
          </a:p>
          <a:p>
            <a:r>
              <a:rPr lang="vi-VN" b="0" i="0">
                <a:solidFill>
                  <a:srgbClr val="212121"/>
                </a:solidFill>
                <a:effectLst/>
                <a:latin typeface="Roboto" panose="02000000000000000000" pitchFamily="2" charset="0"/>
              </a:rPr>
              <a:t>Shrikhande SV, Barreto SG, Goel M, Arya S. Multimodality imaging of pancreatic ductal adenocarcinoma: a review of the literature. HPB (Oxford). 2012 Oct;14(10):658-68 </a:t>
            </a:r>
          </a:p>
          <a:p>
            <a:r>
              <a:rPr lang="vi-VN"/>
              <a:t>Mặc dù có một số chồng chéo tồn tại, nhưng nhìn chung sự hiện diện của một đoạn dài của ống mật chủ ngoài gan với bờ không đều và hẹp không đối xứng là dấu hiệu của ung thư đường mật, trong khi một đoạn ngắn với bờ đều và hẹp đối xứng cho thấy nguyên nhân lành tính.</a:t>
            </a:r>
          </a:p>
          <a:p>
            <a:pPr marL="0" marR="0" lvl="0" indent="0" algn="l" defTabSz="914400" rtl="0" eaLnBrk="1" fontAlgn="auto" latinLnBrk="0" hangingPunct="1">
              <a:lnSpc>
                <a:spcPct val="100000"/>
              </a:lnSpc>
              <a:spcBef>
                <a:spcPts val="0"/>
              </a:spcBef>
              <a:spcAft>
                <a:spcPts val="0"/>
              </a:spcAft>
              <a:buClrTx/>
              <a:buSzTx/>
              <a:buFontTx/>
              <a:buNone/>
              <a:tabLst/>
              <a:defRPr/>
            </a:pPr>
            <a:r>
              <a:rPr lang="vi-VN"/>
              <a:t>+ dấu hiệu duct-penatrating sign/viêm tụy mạn</a:t>
            </a:r>
          </a:p>
          <a:p>
            <a:endParaRPr lang="en-ID"/>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70653B-8FC2-4C8E-B0DB-DC6058263EA5}"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0556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a:t>Ung thư đoạn cuối OMC, Coronal MRCP image shows the filling defect in the distal CBD (arrow) and dilatation of the biliary tree. Dấu hiệu cắt cụt có thể gặp trong sỏi và u OMC, lúc này chúng ta cần quan sát trên phim MRI để phân định. </a:t>
            </a:r>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24</a:t>
            </a:fld>
            <a:endParaRPr lang="en-ID"/>
          </a:p>
        </p:txBody>
      </p:sp>
    </p:spTree>
    <p:extLst>
      <p:ext uri="{BB962C8B-B14F-4D97-AF65-F5344CB8AC3E}">
        <p14:creationId xmlns:p14="http://schemas.microsoft.com/office/powerpoint/2010/main" val="3145412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endParaRPr lang="vi-VN"/>
          </a:p>
          <a:p>
            <a:r>
              <a:rPr lang="vi-VN" b="0" i="0">
                <a:solidFill>
                  <a:srgbClr val="212121"/>
                </a:solidFill>
                <a:effectLst/>
                <a:latin typeface="Roboto" panose="02000000000000000000" pitchFamily="2" charset="0"/>
              </a:rPr>
              <a:t>Shrikhande SV, Barreto SG, Goel M, Arya S. Multimodality imaging of pancreatic ductal adenocarcinoma: a review of the literature. HPB (Oxford). 2012 Oct;14(10):658-68 </a:t>
            </a:r>
          </a:p>
          <a:p>
            <a:r>
              <a:rPr lang="vi-VN" b="0" i="0">
                <a:solidFill>
                  <a:srgbClr val="212121"/>
                </a:solidFill>
                <a:effectLst/>
                <a:latin typeface="Roboto" panose="02000000000000000000" pitchFamily="2" charset="0"/>
              </a:rPr>
              <a:t>Uptodate 2021 </a:t>
            </a:r>
          </a:p>
          <a:p>
            <a:pPr marL="171450" indent="-171450">
              <a:buFontTx/>
              <a:buChar char="-"/>
            </a:pPr>
            <a:r>
              <a:rPr lang="vi-VN" b="0" i="0">
                <a:solidFill>
                  <a:srgbClr val="212121"/>
                </a:solidFill>
                <a:effectLst/>
                <a:latin typeface="Roboto" panose="02000000000000000000" pitchFamily="2" charset="0"/>
              </a:rPr>
              <a:t>Viêm đường mật, rối loạn đông máu, vàng da nặng, billrubin &gt; 15 -20 TP. </a:t>
            </a:r>
            <a:endParaRPr lang="en-US" b="0" i="0">
              <a:solidFill>
                <a:srgbClr val="212121"/>
              </a:solidFill>
              <a:effectLst/>
              <a:latin typeface="Roboto" panose="02000000000000000000" pitchFamily="2" charset="0"/>
            </a:endParaRPr>
          </a:p>
          <a:p>
            <a:pPr marL="171450" indent="-171450">
              <a:buFontTx/>
              <a:buChar char="-"/>
            </a:pPr>
            <a:r>
              <a:rPr lang="en-US"/>
              <a:t>ERCP </a:t>
            </a:r>
            <a:r>
              <a:rPr lang="vi-VN"/>
              <a:t>không khuyến cáo trong sinh thiết u tụy và sử dụng trong u tụy khi cần đặt stent giải áp đường mật.</a:t>
            </a:r>
          </a:p>
          <a:p>
            <a:endParaRPr lang="en-ID"/>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70653B-8FC2-4C8E-B0DB-DC6058263EA5}"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7402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endParaRPr lang="vi-VN"/>
          </a:p>
          <a:p>
            <a:r>
              <a:rPr lang="vi-VN"/>
              <a:t>Katherin E. Poruk, John L Cameron (2019). Pancreatic and periampullary cancer, in </a:t>
            </a:r>
            <a:r>
              <a:rPr lang="en-US" b="1" i="1">
                <a:solidFill>
                  <a:srgbClr val="757575"/>
                </a:solidFill>
                <a:effectLst/>
                <a:latin typeface="Montserrat" panose="00000500000000000000" pitchFamily="2" charset="0"/>
              </a:rPr>
              <a:t>Shackelford’s Surgery of the Alimentary Tract 8th edit.</a:t>
            </a:r>
            <a:endParaRPr lang="vi-VN"/>
          </a:p>
          <a:p>
            <a:r>
              <a:rPr lang="en-ID"/>
              <a:t>percutaneous transhepatic cholangiography</a:t>
            </a:r>
            <a:endParaRPr lang="vi-VN"/>
          </a:p>
          <a:p>
            <a:r>
              <a:rPr lang="vi-VN" b="1" i="0">
                <a:solidFill>
                  <a:srgbClr val="BCC0C3"/>
                </a:solidFill>
                <a:effectLst/>
                <a:latin typeface="arial" panose="020B0604020202020204" pitchFamily="34" charset="0"/>
              </a:rPr>
              <a:t>Endoscopic Ultrasound </a:t>
            </a:r>
          </a:p>
          <a:p>
            <a:endParaRPr lang="en-ID"/>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70653B-8FC2-4C8E-B0DB-DC6058263EA5}"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160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a:t>Ung thư đoạn cuối OMC, Coronal MRCP image shows the filling defect in the distal CBD (arrow) and dilatation of the biliary tree. Dấu hiệu cắt cụt có thể gặp trong sỏi và u OMC, lúc này chúng ta cần quan sát trên phim MRI để phân định. </a:t>
            </a:r>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27</a:t>
            </a:fld>
            <a:endParaRPr lang="en-ID"/>
          </a:p>
        </p:txBody>
      </p:sp>
    </p:spTree>
    <p:extLst>
      <p:ext uri="{BB962C8B-B14F-4D97-AF65-F5344CB8AC3E}">
        <p14:creationId xmlns:p14="http://schemas.microsoft.com/office/powerpoint/2010/main" val="8700695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a:t>Ung thư đoạn cuối OMC, Coronal MRCP image shows the filling defect in the distal CBD (arrow) and dilatation of the biliary tree. Dấu hiệu cắt cụt có thể gặp trong sỏi và u OMC, lúc này chúng ta cần quan sát trên phim MRI để phân định. </a:t>
            </a:r>
          </a:p>
          <a:p>
            <a:r>
              <a:rPr lang="vi-VN"/>
              <a:t>Wee, Eric. (2012). The diagnostic accuracy and strength of agreement between endoscopic ultrasound and histopathology in the staging of ampullary tumors. Indian journal of gastroenterology : official journal of the Indian Society of Gastroenterology. 31. 10.1007/s12664-012-0248-3. </a:t>
            </a:r>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28</a:t>
            </a:fld>
            <a:endParaRPr lang="en-ID"/>
          </a:p>
        </p:txBody>
      </p:sp>
    </p:spTree>
    <p:extLst>
      <p:ext uri="{BB962C8B-B14F-4D97-AF65-F5344CB8AC3E}">
        <p14:creationId xmlns:p14="http://schemas.microsoft.com/office/powerpoint/2010/main" val="4020568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29</a:t>
            </a:fld>
            <a:endParaRPr lang="en-ID"/>
          </a:p>
        </p:txBody>
      </p:sp>
    </p:spTree>
    <p:extLst>
      <p:ext uri="{BB962C8B-B14F-4D97-AF65-F5344CB8AC3E}">
        <p14:creationId xmlns:p14="http://schemas.microsoft.com/office/powerpoint/2010/main" val="823032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3</a:t>
            </a:fld>
            <a:endParaRPr lang="en-ID"/>
          </a:p>
        </p:txBody>
      </p:sp>
    </p:spTree>
    <p:extLst>
      <p:ext uri="{BB962C8B-B14F-4D97-AF65-F5344CB8AC3E}">
        <p14:creationId xmlns:p14="http://schemas.microsoft.com/office/powerpoint/2010/main" val="38262781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t>* </a:t>
            </a:r>
            <a:r>
              <a:rPr lang="en-ID" dirty="0" err="1"/>
              <a:t>động</a:t>
            </a:r>
            <a:r>
              <a:rPr lang="en-ID" dirty="0"/>
              <a:t> </a:t>
            </a:r>
            <a:r>
              <a:rPr lang="en-ID" dirty="0" err="1"/>
              <a:t>mạch</a:t>
            </a:r>
            <a:r>
              <a:rPr lang="en-ID" dirty="0"/>
              <a:t> </a:t>
            </a:r>
            <a:r>
              <a:rPr lang="en-ID" dirty="0" err="1"/>
              <a:t>thân</a:t>
            </a:r>
            <a:r>
              <a:rPr lang="en-ID" dirty="0"/>
              <a:t> </a:t>
            </a:r>
            <a:r>
              <a:rPr lang="en-ID" dirty="0" err="1"/>
              <a:t>tạng</a:t>
            </a:r>
            <a:r>
              <a:rPr lang="en-ID" dirty="0"/>
              <a:t>, </a:t>
            </a:r>
            <a:r>
              <a:rPr lang="en-ID" dirty="0" err="1"/>
              <a:t>động</a:t>
            </a:r>
            <a:r>
              <a:rPr lang="en-ID" dirty="0"/>
              <a:t> </a:t>
            </a:r>
            <a:r>
              <a:rPr lang="en-ID" dirty="0" err="1"/>
              <a:t>mạch</a:t>
            </a:r>
            <a:r>
              <a:rPr lang="en-ID" dirty="0"/>
              <a:t> </a:t>
            </a:r>
            <a:r>
              <a:rPr lang="en-ID" dirty="0" err="1"/>
              <a:t>mạc</a:t>
            </a:r>
            <a:r>
              <a:rPr lang="en-ID" dirty="0"/>
              <a:t> </a:t>
            </a:r>
            <a:r>
              <a:rPr lang="en-ID" dirty="0" err="1"/>
              <a:t>treo</a:t>
            </a:r>
            <a:r>
              <a:rPr lang="en-ID" dirty="0"/>
              <a:t> </a:t>
            </a:r>
            <a:r>
              <a:rPr lang="en-ID" dirty="0" err="1"/>
              <a:t>tràng</a:t>
            </a:r>
            <a:r>
              <a:rPr lang="en-ID" dirty="0"/>
              <a:t> </a:t>
            </a:r>
            <a:r>
              <a:rPr lang="en-ID" dirty="0" err="1"/>
              <a:t>trên</a:t>
            </a:r>
            <a:r>
              <a:rPr lang="en-ID" dirty="0"/>
              <a:t>, </a:t>
            </a:r>
            <a:r>
              <a:rPr lang="en-ID" dirty="0" err="1"/>
              <a:t>động</a:t>
            </a:r>
            <a:r>
              <a:rPr lang="en-ID" dirty="0"/>
              <a:t> </a:t>
            </a:r>
            <a:r>
              <a:rPr lang="en-ID" dirty="0" err="1"/>
              <a:t>mạch</a:t>
            </a:r>
            <a:r>
              <a:rPr lang="en-ID" dirty="0"/>
              <a:t> </a:t>
            </a:r>
            <a:r>
              <a:rPr lang="en-ID" dirty="0" err="1"/>
              <a:t>gan</a:t>
            </a:r>
            <a:r>
              <a:rPr lang="en-ID" dirty="0"/>
              <a:t> </a:t>
            </a:r>
            <a:r>
              <a:rPr lang="en-ID" dirty="0" err="1"/>
              <a:t>chung</a:t>
            </a:r>
            <a:endParaRPr lang="en-ID" dirty="0"/>
          </a:p>
          <a:p>
            <a:r>
              <a:rPr lang="en-ID" dirty="0" err="1"/>
              <a:t>Tiêu</a:t>
            </a:r>
            <a:r>
              <a:rPr lang="en-ID" dirty="0"/>
              <a:t> </a:t>
            </a:r>
            <a:r>
              <a:rPr lang="en-ID" dirty="0" err="1"/>
              <a:t>chuẩn</a:t>
            </a:r>
            <a:r>
              <a:rPr lang="en-ID" dirty="0"/>
              <a:t> </a:t>
            </a:r>
            <a:r>
              <a:rPr lang="en-ID" dirty="0" err="1"/>
              <a:t>này</a:t>
            </a:r>
            <a:r>
              <a:rPr lang="en-ID" dirty="0"/>
              <a:t> </a:t>
            </a:r>
            <a:r>
              <a:rPr lang="en-ID" dirty="0" err="1"/>
              <a:t>sử</a:t>
            </a:r>
            <a:r>
              <a:rPr lang="en-ID" dirty="0"/>
              <a:t> </a:t>
            </a:r>
            <a:r>
              <a:rPr lang="en-ID" dirty="0" err="1"/>
              <a:t>dụng</a:t>
            </a:r>
            <a:r>
              <a:rPr lang="en-ID" dirty="0"/>
              <a:t> </a:t>
            </a:r>
            <a:r>
              <a:rPr lang="en-ID" dirty="0" err="1"/>
              <a:t>cho</a:t>
            </a:r>
            <a:r>
              <a:rPr lang="en-ID" dirty="0"/>
              <a:t> </a:t>
            </a:r>
            <a:r>
              <a:rPr lang="en-ID" dirty="0" err="1"/>
              <a:t>ung</a:t>
            </a:r>
            <a:r>
              <a:rPr lang="en-ID" dirty="0"/>
              <a:t> </a:t>
            </a:r>
            <a:r>
              <a:rPr lang="en-ID" dirty="0" err="1"/>
              <a:t>thư</a:t>
            </a:r>
            <a:r>
              <a:rPr lang="en-ID" dirty="0"/>
              <a:t> </a:t>
            </a:r>
            <a:r>
              <a:rPr lang="en-ID" dirty="0" err="1"/>
              <a:t>tụy</a:t>
            </a:r>
            <a:r>
              <a:rPr lang="en-ID" dirty="0"/>
              <a:t>, </a:t>
            </a:r>
            <a:r>
              <a:rPr lang="en-ID" dirty="0" err="1"/>
              <a:t>với</a:t>
            </a:r>
            <a:r>
              <a:rPr lang="en-ID" dirty="0"/>
              <a:t> </a:t>
            </a:r>
            <a:r>
              <a:rPr lang="en-ID" dirty="0" err="1"/>
              <a:t>các</a:t>
            </a:r>
            <a:r>
              <a:rPr lang="en-ID" dirty="0"/>
              <a:t> u </a:t>
            </a:r>
            <a:r>
              <a:rPr lang="en-ID" dirty="0" err="1"/>
              <a:t>khác</a:t>
            </a:r>
            <a:r>
              <a:rPr lang="en-ID" dirty="0"/>
              <a:t> </a:t>
            </a:r>
            <a:r>
              <a:rPr lang="en-ID" dirty="0" err="1"/>
              <a:t>quanh</a:t>
            </a:r>
            <a:r>
              <a:rPr lang="en-ID" dirty="0"/>
              <a:t> </a:t>
            </a:r>
            <a:r>
              <a:rPr lang="en-ID" dirty="0" err="1"/>
              <a:t>bóng</a:t>
            </a:r>
            <a:r>
              <a:rPr lang="en-ID" dirty="0"/>
              <a:t> </a:t>
            </a:r>
            <a:r>
              <a:rPr lang="en-ID" dirty="0" err="1"/>
              <a:t>vater</a:t>
            </a:r>
            <a:r>
              <a:rPr lang="en-ID" dirty="0"/>
              <a:t> </a:t>
            </a:r>
            <a:r>
              <a:rPr lang="en-ID" dirty="0" err="1"/>
              <a:t>hiện</a:t>
            </a:r>
            <a:r>
              <a:rPr lang="en-ID" dirty="0"/>
              <a:t> </a:t>
            </a:r>
            <a:r>
              <a:rPr lang="en-ID" dirty="0" err="1"/>
              <a:t>chưa</a:t>
            </a:r>
            <a:r>
              <a:rPr lang="en-ID" dirty="0"/>
              <a:t> </a:t>
            </a:r>
            <a:r>
              <a:rPr lang="en-ID" dirty="0" err="1"/>
              <a:t>có</a:t>
            </a:r>
            <a:r>
              <a:rPr lang="en-ID" dirty="0"/>
              <a:t> </a:t>
            </a:r>
            <a:r>
              <a:rPr lang="en-ID" dirty="0" err="1"/>
              <a:t>tiêu</a:t>
            </a:r>
            <a:r>
              <a:rPr lang="en-ID" dirty="0"/>
              <a:t> </a:t>
            </a:r>
            <a:r>
              <a:rPr lang="en-ID" dirty="0" err="1"/>
              <a:t>chuẩn</a:t>
            </a:r>
            <a:r>
              <a:rPr lang="en-ID" dirty="0"/>
              <a:t> </a:t>
            </a:r>
            <a:r>
              <a:rPr lang="en-ID" dirty="0" err="1"/>
              <a:t>chính</a:t>
            </a:r>
            <a:r>
              <a:rPr lang="en-ID" dirty="0"/>
              <a:t> </a:t>
            </a:r>
            <a:r>
              <a:rPr lang="en-ID" dirty="0" err="1"/>
              <a:t>thức</a:t>
            </a:r>
            <a:r>
              <a:rPr lang="en-ID" dirty="0"/>
              <a:t> </a:t>
            </a:r>
            <a:r>
              <a:rPr lang="en-ID" dirty="0" err="1"/>
              <a:t>nên</a:t>
            </a:r>
            <a:r>
              <a:rPr lang="en-ID" dirty="0"/>
              <a:t> </a:t>
            </a:r>
            <a:r>
              <a:rPr lang="en-ID" dirty="0" err="1"/>
              <a:t>vẫn</a:t>
            </a:r>
            <a:r>
              <a:rPr lang="en-ID" dirty="0"/>
              <a:t> </a:t>
            </a:r>
            <a:r>
              <a:rPr lang="en-ID" dirty="0" err="1"/>
              <a:t>sử</a:t>
            </a:r>
            <a:r>
              <a:rPr lang="en-ID" dirty="0"/>
              <a:t> </a:t>
            </a:r>
            <a:r>
              <a:rPr lang="en-ID" dirty="0" err="1"/>
              <a:t>dụng</a:t>
            </a:r>
            <a:r>
              <a:rPr lang="en-ID" dirty="0"/>
              <a:t> </a:t>
            </a:r>
            <a:r>
              <a:rPr lang="en-ID" dirty="0" err="1"/>
              <a:t>tiêu</a:t>
            </a:r>
            <a:r>
              <a:rPr lang="en-ID" dirty="0"/>
              <a:t> </a:t>
            </a:r>
            <a:r>
              <a:rPr lang="en-ID" dirty="0" err="1"/>
              <a:t>chuẩn</a:t>
            </a:r>
            <a:r>
              <a:rPr lang="en-ID" dirty="0"/>
              <a:t> </a:t>
            </a:r>
            <a:r>
              <a:rPr lang="en-ID" dirty="0" err="1"/>
              <a:t>của</a:t>
            </a:r>
            <a:r>
              <a:rPr lang="en-ID" dirty="0"/>
              <a:t> </a:t>
            </a:r>
            <a:r>
              <a:rPr lang="en-ID" dirty="0" err="1"/>
              <a:t>ung</a:t>
            </a:r>
            <a:r>
              <a:rPr lang="en-ID" dirty="0"/>
              <a:t> </a:t>
            </a:r>
            <a:r>
              <a:rPr lang="en-ID" dirty="0" err="1"/>
              <a:t>thư</a:t>
            </a:r>
            <a:r>
              <a:rPr lang="en-ID" dirty="0"/>
              <a:t> </a:t>
            </a:r>
            <a:r>
              <a:rPr lang="en-ID" dirty="0" err="1"/>
              <a:t>tụy</a:t>
            </a:r>
            <a:r>
              <a:rPr lang="en-ID" dirty="0"/>
              <a:t> PDAC </a:t>
            </a:r>
            <a:endParaRPr lang="vi-VN" dirty="0"/>
          </a:p>
          <a:p>
            <a:r>
              <a:rPr lang="vi-VN" dirty="0"/>
              <a:t>Định nghĩa: dựa vào hình ảnh Ctscan và MRCP</a:t>
            </a:r>
          </a:p>
          <a:p>
            <a:r>
              <a:rPr lang="vi-VN" dirty="0"/>
              <a:t>	giảm trên 50% bán kính tĩnh mạch (tĩnh mạch cửa hoặc kèm TMMTTT) còn khả năng cắt nối hoặc thuyên tắc một đoạn ngắn chiều dài tĩnh mạch còn khả năng cắt nối được</a:t>
            </a:r>
          </a:p>
          <a:p>
            <a:r>
              <a:rPr lang="vi-VN" dirty="0"/>
              <a:t>	xâm lấn 180 độ chu vi ĐMMTT</a:t>
            </a:r>
          </a:p>
          <a:p>
            <a:r>
              <a:rPr lang="vi-VN" dirty="0"/>
              <a:t>	xâm lấn động mạch thân tạng hoặc động mạch gan chung (không dãn mạch, không bất thường giải phẫu mạch máu, không liên quan tới vị trí chia nhánh mạch máu).</a:t>
            </a:r>
            <a:endParaRPr lang="en-ID" dirty="0"/>
          </a:p>
          <a:p>
            <a:endParaRPr lang="en-ID" dirty="0"/>
          </a:p>
        </p:txBody>
      </p:sp>
      <p:sp>
        <p:nvSpPr>
          <p:cNvPr id="4" name="Slide Number Placeholder 3"/>
          <p:cNvSpPr>
            <a:spLocks noGrp="1"/>
          </p:cNvSpPr>
          <p:nvPr>
            <p:ph type="sldNum" sz="quarter" idx="5"/>
          </p:nvPr>
        </p:nvSpPr>
        <p:spPr/>
        <p:txBody>
          <a:bodyPr/>
          <a:lstStyle/>
          <a:p>
            <a:fld id="{8670653B-8FC2-4C8E-B0DB-DC6058263EA5}" type="slidenum">
              <a:rPr lang="en-ID" smtClean="0"/>
              <a:t>30</a:t>
            </a:fld>
            <a:endParaRPr lang="en-ID"/>
          </a:p>
        </p:txBody>
      </p:sp>
    </p:spTree>
    <p:extLst>
      <p:ext uri="{BB962C8B-B14F-4D97-AF65-F5344CB8AC3E}">
        <p14:creationId xmlns:p14="http://schemas.microsoft.com/office/powerpoint/2010/main" val="42179643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r>
              <a:rPr lang="en-US" dirty="0" err="1"/>
              <a:t>Tất</a:t>
            </a:r>
            <a:r>
              <a:rPr lang="en-US" dirty="0"/>
              <a:t> </a:t>
            </a:r>
            <a:r>
              <a:rPr lang="en-US" dirty="0" err="1"/>
              <a:t>cả</a:t>
            </a:r>
            <a:r>
              <a:rPr lang="en-US" dirty="0"/>
              <a:t> </a:t>
            </a:r>
            <a:r>
              <a:rPr lang="en-US" dirty="0" err="1"/>
              <a:t>các</a:t>
            </a:r>
            <a:r>
              <a:rPr lang="en-US" dirty="0"/>
              <a:t> u </a:t>
            </a:r>
            <a:r>
              <a:rPr lang="en-US" dirty="0" err="1"/>
              <a:t>quanh</a:t>
            </a:r>
            <a:r>
              <a:rPr lang="en-US" dirty="0"/>
              <a:t> </a:t>
            </a:r>
            <a:r>
              <a:rPr lang="en-US" dirty="0" err="1"/>
              <a:t>bóng</a:t>
            </a:r>
            <a:r>
              <a:rPr lang="en-US" dirty="0"/>
              <a:t> </a:t>
            </a:r>
            <a:r>
              <a:rPr lang="en-US" dirty="0" err="1"/>
              <a:t>vater</a:t>
            </a:r>
            <a:r>
              <a:rPr lang="en-US" dirty="0"/>
              <a:t> </a:t>
            </a:r>
            <a:r>
              <a:rPr lang="en-US" dirty="0" err="1"/>
              <a:t>đều</a:t>
            </a:r>
            <a:r>
              <a:rPr lang="en-US" dirty="0"/>
              <a:t> </a:t>
            </a:r>
            <a:r>
              <a:rPr lang="en-US" dirty="0" err="1"/>
              <a:t>cần</a:t>
            </a:r>
            <a:r>
              <a:rPr lang="en-US" dirty="0"/>
              <a:t> </a:t>
            </a:r>
            <a:r>
              <a:rPr lang="en-US" dirty="0" err="1"/>
              <a:t>đánh</a:t>
            </a:r>
            <a:r>
              <a:rPr lang="en-US" dirty="0"/>
              <a:t> </a:t>
            </a:r>
            <a:r>
              <a:rPr lang="en-US" dirty="0" err="1"/>
              <a:t>giá</a:t>
            </a:r>
            <a:r>
              <a:rPr lang="en-US" dirty="0"/>
              <a:t> </a:t>
            </a:r>
            <a:r>
              <a:rPr lang="en-US" dirty="0" err="1"/>
              <a:t>giai</a:t>
            </a:r>
            <a:r>
              <a:rPr lang="en-US" dirty="0"/>
              <a:t> </a:t>
            </a:r>
            <a:r>
              <a:rPr lang="en-US" dirty="0" err="1"/>
              <a:t>đoạn</a:t>
            </a:r>
            <a:r>
              <a:rPr lang="en-US" dirty="0"/>
              <a:t> </a:t>
            </a:r>
            <a:r>
              <a:rPr lang="en-US" dirty="0" err="1"/>
              <a:t>trước</a:t>
            </a:r>
            <a:r>
              <a:rPr lang="en-US" dirty="0"/>
              <a:t> </a:t>
            </a:r>
            <a:r>
              <a:rPr lang="en-US" dirty="0" err="1"/>
              <a:t>mổ</a:t>
            </a:r>
            <a:r>
              <a:rPr lang="en-US" dirty="0"/>
              <a:t>, </a:t>
            </a:r>
            <a:r>
              <a:rPr lang="en-US" dirty="0" err="1"/>
              <a:t>và</a:t>
            </a:r>
            <a:r>
              <a:rPr lang="en-US" dirty="0"/>
              <a:t> </a:t>
            </a:r>
            <a:r>
              <a:rPr lang="en-US" dirty="0" err="1"/>
              <a:t>để</a:t>
            </a:r>
            <a:r>
              <a:rPr lang="en-US" dirty="0"/>
              <a:t> </a:t>
            </a:r>
            <a:r>
              <a:rPr lang="en-US" dirty="0" err="1"/>
              <a:t>cần</a:t>
            </a:r>
            <a:r>
              <a:rPr lang="en-US" dirty="0"/>
              <a:t> </a:t>
            </a:r>
            <a:r>
              <a:rPr lang="en-US" dirty="0" err="1"/>
              <a:t>trả</a:t>
            </a:r>
            <a:r>
              <a:rPr lang="en-US" dirty="0"/>
              <a:t> </a:t>
            </a:r>
            <a:r>
              <a:rPr lang="en-US" dirty="0" err="1"/>
              <a:t>lời</a:t>
            </a:r>
            <a:r>
              <a:rPr lang="en-US" dirty="0"/>
              <a:t> </a:t>
            </a:r>
            <a:r>
              <a:rPr lang="en-US" dirty="0" err="1"/>
              <a:t>câu</a:t>
            </a:r>
            <a:r>
              <a:rPr lang="en-US" dirty="0"/>
              <a:t> </a:t>
            </a:r>
            <a:r>
              <a:rPr lang="en-US" dirty="0" err="1"/>
              <a:t>hỏi</a:t>
            </a:r>
            <a:r>
              <a:rPr lang="en-US" dirty="0"/>
              <a:t> </a:t>
            </a:r>
            <a:r>
              <a:rPr lang="en-US" dirty="0" err="1"/>
              <a:t>quan</a:t>
            </a:r>
            <a:r>
              <a:rPr lang="en-US" dirty="0"/>
              <a:t> </a:t>
            </a:r>
            <a:r>
              <a:rPr lang="en-US" dirty="0" err="1"/>
              <a:t>trọng</a:t>
            </a:r>
            <a:r>
              <a:rPr lang="en-US" dirty="0"/>
              <a:t>: </a:t>
            </a:r>
            <a:r>
              <a:rPr lang="en-US" dirty="0" err="1"/>
              <a:t>khối</a:t>
            </a:r>
            <a:r>
              <a:rPr lang="en-US" dirty="0"/>
              <a:t> u </a:t>
            </a:r>
            <a:r>
              <a:rPr lang="en-US" dirty="0" err="1"/>
              <a:t>này</a:t>
            </a:r>
            <a:r>
              <a:rPr lang="en-US" dirty="0"/>
              <a:t> </a:t>
            </a:r>
            <a:r>
              <a:rPr lang="en-US" dirty="0" err="1"/>
              <a:t>có</a:t>
            </a:r>
            <a:r>
              <a:rPr lang="en-US" dirty="0"/>
              <a:t> </a:t>
            </a:r>
            <a:r>
              <a:rPr lang="en-US" dirty="0" err="1"/>
              <a:t>khả</a:t>
            </a:r>
            <a:r>
              <a:rPr lang="en-US" dirty="0"/>
              <a:t> </a:t>
            </a:r>
            <a:r>
              <a:rPr lang="en-US" dirty="0" err="1"/>
              <a:t>năng</a:t>
            </a:r>
            <a:r>
              <a:rPr lang="en-US" dirty="0"/>
              <a:t> </a:t>
            </a:r>
            <a:r>
              <a:rPr lang="en-US" dirty="0" err="1"/>
              <a:t>phẩu</a:t>
            </a:r>
            <a:r>
              <a:rPr lang="en-US" dirty="0"/>
              <a:t> </a:t>
            </a:r>
            <a:r>
              <a:rPr lang="en-US" dirty="0" err="1"/>
              <a:t>thuật</a:t>
            </a:r>
            <a:r>
              <a:rPr lang="en-US" dirty="0"/>
              <a:t> hay </a:t>
            </a:r>
            <a:r>
              <a:rPr lang="en-US" dirty="0" err="1"/>
              <a:t>không</a:t>
            </a:r>
            <a:endParaRPr lang="en-US" dirty="0"/>
          </a:p>
          <a:p>
            <a:r>
              <a:rPr lang="vi-VN" dirty="0"/>
              <a:t>CT-</a:t>
            </a:r>
          </a:p>
          <a:p>
            <a:r>
              <a:rPr lang="vi-VN" dirty="0"/>
              <a:t>MRI</a:t>
            </a:r>
          </a:p>
          <a:p>
            <a:r>
              <a:rPr lang="vi-VN" dirty="0"/>
              <a:t>EUS: tốt hơn CT nhưng vì CT ngày nay độ chính xác khá cao, mặt khác, 45% ds có các biến thể giải phẫu động mạch gan và EUS phụ thuộc người làm nên trong ung thư tụy, EUS không được NCCN khuyến cáo sử dụng thường qui đánh giá giai đoạn cx như ko dùng để đánh giá xâm lấn mạch máu. </a:t>
            </a:r>
          </a:p>
          <a:p>
            <a:endParaRPr lang="vi-VN" dirty="0"/>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31</a:t>
            </a:fld>
            <a:endParaRPr lang="en-ID"/>
          </a:p>
        </p:txBody>
      </p:sp>
    </p:spTree>
    <p:extLst>
      <p:ext uri="{BB962C8B-B14F-4D97-AF65-F5344CB8AC3E}">
        <p14:creationId xmlns:p14="http://schemas.microsoft.com/office/powerpoint/2010/main" val="334927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Độ nhạy thấp trong di căn phúc mạc nên 1 số BN nguy cơ cao đc KC nội soi ổ bụng thám sát </a:t>
            </a:r>
            <a:endParaRPr lang="en-ID"/>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70653B-8FC2-4C8E-B0DB-DC6058263EA5}"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2301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Do trường quan sát hẹp nên EUS không dùng để đánh giá di căn xa</a:t>
            </a:r>
            <a:endParaRPr lang="en-ID"/>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70653B-8FC2-4C8E-B0DB-DC6058263EA5}"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56850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34</a:t>
            </a:fld>
            <a:endParaRPr lang="en-ID"/>
          </a:p>
        </p:txBody>
      </p:sp>
    </p:spTree>
    <p:extLst>
      <p:ext uri="{BB962C8B-B14F-4D97-AF65-F5344CB8AC3E}">
        <p14:creationId xmlns:p14="http://schemas.microsoft.com/office/powerpoint/2010/main" val="9937002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nh thiết qua da ít thực hiện do nguy cơ biến chứng chảy máu, nhiễm trùng, gieo rắc TB ung thư vào phúc mạc </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35</a:t>
            </a:fld>
            <a:endParaRPr lang="en-ID"/>
          </a:p>
        </p:txBody>
      </p:sp>
    </p:spTree>
    <p:extLst>
      <p:ext uri="{BB962C8B-B14F-4D97-AF65-F5344CB8AC3E}">
        <p14:creationId xmlns:p14="http://schemas.microsoft.com/office/powerpoint/2010/main" val="20310814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ệnh lành tính: viêm tụy man, viêm tụy tự miễn </a:t>
            </a:r>
          </a:p>
          <a:p>
            <a:r>
              <a:rPr lang="en-US"/>
              <a:t>U omc có cần gpb????</a:t>
            </a:r>
            <a:endParaRPr lang="vi-VN"/>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36</a:t>
            </a:fld>
            <a:endParaRPr lang="en-ID"/>
          </a:p>
        </p:txBody>
      </p:sp>
    </p:spTree>
    <p:extLst>
      <p:ext uri="{BB962C8B-B14F-4D97-AF65-F5344CB8AC3E}">
        <p14:creationId xmlns:p14="http://schemas.microsoft.com/office/powerpoint/2010/main" val="35878656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ỗ dành sẵn cho Hình ảnh của Bản chiếu 1"/>
          <p:cNvSpPr>
            <a:spLocks noGrp="1" noRot="1" noChangeAspect="1"/>
          </p:cNvSpPr>
          <p:nvPr>
            <p:ph type="sldImg"/>
          </p:nvPr>
        </p:nvSpPr>
        <p:spPr/>
      </p:sp>
      <p:sp>
        <p:nvSpPr>
          <p:cNvPr id="3" name="Chỗ dành sẵn cho Ghi chú 2"/>
          <p:cNvSpPr>
            <a:spLocks noGrp="1"/>
          </p:cNvSpPr>
          <p:nvPr>
            <p:ph type="body" idx="1"/>
          </p:nvPr>
        </p:nvSpPr>
        <p:spPr/>
        <p:txBody>
          <a:bodyPr/>
          <a:lstStyle/>
          <a:p>
            <a:endParaRPr lang="vi-VN"/>
          </a:p>
        </p:txBody>
      </p:sp>
      <p:sp>
        <p:nvSpPr>
          <p:cNvPr id="4" name="Chỗ dành sẵn cho Số hiệu Bản chiếu 3"/>
          <p:cNvSpPr>
            <a:spLocks noGrp="1"/>
          </p:cNvSpPr>
          <p:nvPr>
            <p:ph type="sldNum" sz="quarter" idx="5"/>
          </p:nvPr>
        </p:nvSpPr>
        <p:spPr/>
        <p:txBody>
          <a:bodyPr/>
          <a:lstStyle/>
          <a:p>
            <a:fld id="{503377B1-7BB6-4BE3-919F-B708E163C3AD}" type="slidenum">
              <a:rPr lang="en-ID" smtClean="0"/>
              <a:t>37</a:t>
            </a:fld>
            <a:endParaRPr lang="en-ID"/>
          </a:p>
        </p:txBody>
      </p:sp>
    </p:spTree>
    <p:extLst>
      <p:ext uri="{BB962C8B-B14F-4D97-AF65-F5344CB8AC3E}">
        <p14:creationId xmlns:p14="http://schemas.microsoft.com/office/powerpoint/2010/main" val="5660017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1</a:t>
            </a:fld>
            <a:endParaRPr lang="en-ID"/>
          </a:p>
        </p:txBody>
      </p:sp>
    </p:spTree>
    <p:extLst>
      <p:ext uri="{BB962C8B-B14F-4D97-AF65-F5344CB8AC3E}">
        <p14:creationId xmlns:p14="http://schemas.microsoft.com/office/powerpoint/2010/main" val="9022709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hẫu thuật</a:t>
            </a:r>
          </a:p>
          <a:p>
            <a:r>
              <a:rPr lang="en-US"/>
              <a:t>2 – Chuẩn bị BN trước phẫu thuật</a:t>
            </a:r>
          </a:p>
          <a:p>
            <a:pPr marL="285750" indent="-285750">
              <a:buFontTx/>
              <a:buChar char="-"/>
            </a:pPr>
            <a:r>
              <a:rPr lang="en-US"/>
              <a:t>Đánh giá khả năng phẫu thuật u: dựa trên hình ảnh học</a:t>
            </a:r>
          </a:p>
          <a:p>
            <a:pPr marL="285750" indent="-285750">
              <a:buFontTx/>
              <a:buChar char="-"/>
            </a:pPr>
            <a:r>
              <a:rPr lang="en-US"/>
              <a:t>Đánh giá nguy cơ rò tụy sau mổ: tuổi &gt; 70 tuổi, dinh dưỡng kém, BMI &gt; 25 kg/m2, albumin &lt; 4g/dl</a:t>
            </a:r>
          </a:p>
          <a:p>
            <a:pPr marL="285750" indent="-285750">
              <a:buFontTx/>
              <a:buChar char="-"/>
            </a:pPr>
            <a:r>
              <a:rPr lang="en-US"/>
              <a:t>Bệnh đi kèm</a:t>
            </a:r>
          </a:p>
          <a:p>
            <a:pPr marL="285750" indent="-285750">
              <a:buFontTx/>
              <a:buChar char="-"/>
            </a:pPr>
            <a:r>
              <a:rPr lang="en-US"/>
              <a:t>Dẫn lưu đường mật trước mổ:</a:t>
            </a:r>
          </a:p>
          <a:p>
            <a:r>
              <a:rPr lang="en-US"/>
              <a:t>+ Không khuyến cáo thực hiện thường quy</a:t>
            </a:r>
          </a:p>
          <a:p>
            <a:r>
              <a:rPr lang="en-US"/>
              <a:t>+ Chỉ định khi: viêm đường mật, rối loạn đông máu do tắc mật</a:t>
            </a:r>
          </a:p>
          <a:p>
            <a:r>
              <a:rPr lang="en-US"/>
              <a:t>+ Phương pháp: PTBD (ưu tiên), ERCP.</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2</a:t>
            </a:fld>
            <a:endParaRPr lang="en-ID"/>
          </a:p>
        </p:txBody>
      </p:sp>
    </p:spTree>
    <p:extLst>
      <p:ext uri="{BB962C8B-B14F-4D97-AF65-F5344CB8AC3E}">
        <p14:creationId xmlns:p14="http://schemas.microsoft.com/office/powerpoint/2010/main" val="3812312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3246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3</a:t>
            </a:fld>
            <a:endParaRPr lang="en-ID"/>
          </a:p>
        </p:txBody>
      </p:sp>
    </p:spTree>
    <p:extLst>
      <p:ext uri="{BB962C8B-B14F-4D97-AF65-F5344CB8AC3E}">
        <p14:creationId xmlns:p14="http://schemas.microsoft.com/office/powerpoint/2010/main" val="3709306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4</a:t>
            </a:fld>
            <a:endParaRPr lang="en-ID"/>
          </a:p>
        </p:txBody>
      </p:sp>
    </p:spTree>
    <p:extLst>
      <p:ext uri="{BB962C8B-B14F-4D97-AF65-F5344CB8AC3E}">
        <p14:creationId xmlns:p14="http://schemas.microsoft.com/office/powerpoint/2010/main" val="36268781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vi-VN"/>
              <a:t>khối u có kích thước lớn khó xác định từ cơ quan nào trong ung thư quanh bóng vater; thường dùng hóa mô miễn dịch để phân biệt chỗ nào với mục đích chính là hỗ trợ cho điều trị hóa trị bổ trợ sau phẫu thuật.</a:t>
            </a:r>
          </a:p>
          <a:p>
            <a:pPr marL="171450" indent="-171450">
              <a:buFontTx/>
              <a:buChar char="-"/>
            </a:pPr>
            <a:r>
              <a:rPr lang="vi-VN"/>
              <a:t>MUC2 và CDX2: tá tràng; 82% và 100%.</a:t>
            </a:r>
          </a:p>
          <a:p>
            <a:pPr marL="171450" indent="-171450">
              <a:buFontTx/>
              <a:buChar char="-"/>
            </a:pPr>
            <a:r>
              <a:rPr lang="vi-VN"/>
              <a:t>MUC1 và CK17: cùng dương gợi ý ung thư đầu tụy hoặc ung thư bóng vater. </a:t>
            </a:r>
            <a:endParaRPr lang="en-ID"/>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5</a:t>
            </a:fld>
            <a:endParaRPr lang="en-ID"/>
          </a:p>
        </p:txBody>
      </p:sp>
    </p:spTree>
    <p:extLst>
      <p:ext uri="{BB962C8B-B14F-4D97-AF65-F5344CB8AC3E}">
        <p14:creationId xmlns:p14="http://schemas.microsoft.com/office/powerpoint/2010/main" val="19825589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Đái tháo đường sau phẫu thuật: </a:t>
            </a:r>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6</a:t>
            </a:fld>
            <a:endParaRPr lang="en-ID"/>
          </a:p>
        </p:txBody>
      </p:sp>
    </p:spTree>
    <p:extLst>
      <p:ext uri="{BB962C8B-B14F-4D97-AF65-F5344CB8AC3E}">
        <p14:creationId xmlns:p14="http://schemas.microsoft.com/office/powerpoint/2010/main" val="34957886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84E0C8"/>
                </a:solidFill>
                <a:sym typeface="Calibri" panose="020F0502020204030204" pitchFamily="34" charset="0"/>
              </a:rPr>
              <a:t>https://www.freepik.com/free-photo/high-angle-delivery-man-with-mask_8973109.htm</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7</a:t>
            </a:fld>
            <a:endParaRPr lang="en-ID"/>
          </a:p>
        </p:txBody>
      </p:sp>
    </p:spTree>
    <p:extLst>
      <p:ext uri="{BB962C8B-B14F-4D97-AF65-F5344CB8AC3E}">
        <p14:creationId xmlns:p14="http://schemas.microsoft.com/office/powerpoint/2010/main" val="31788805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8</a:t>
            </a:fld>
            <a:endParaRPr lang="en-ID"/>
          </a:p>
        </p:txBody>
      </p:sp>
    </p:spTree>
    <p:extLst>
      <p:ext uri="{BB962C8B-B14F-4D97-AF65-F5344CB8AC3E}">
        <p14:creationId xmlns:p14="http://schemas.microsoft.com/office/powerpoint/2010/main" val="31262909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vi-VN"/>
              <a:t>khối u có kích thước lớn khó xác định từ cơ quan nào trong ung thư quanh bóng vater; thường dùng hóa mô miễn dịch để phân biệt chỗ nào với mục đích chính là hỗ trợ cho điều trị hóa trị bổ trợ sau phẫu thuật.</a:t>
            </a:r>
          </a:p>
          <a:p>
            <a:pPr marL="171450" indent="-171450">
              <a:buFontTx/>
              <a:buChar char="-"/>
            </a:pPr>
            <a:r>
              <a:rPr lang="vi-VN"/>
              <a:t>MUC2 và CDX2: tá tràng; 82% và 100%.</a:t>
            </a:r>
          </a:p>
          <a:p>
            <a:pPr marL="171450" indent="-171450">
              <a:buFontTx/>
              <a:buChar char="-"/>
            </a:pPr>
            <a:r>
              <a:rPr lang="vi-VN"/>
              <a:t>MUC1 và CK17: cùng dương gợi ý ung thư đầu tụy hoặc ung thư bóng vater. </a:t>
            </a:r>
            <a:endParaRPr lang="en-ID"/>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49</a:t>
            </a:fld>
            <a:endParaRPr lang="en-ID"/>
          </a:p>
        </p:txBody>
      </p:sp>
    </p:spTree>
    <p:extLst>
      <p:ext uri="{BB962C8B-B14F-4D97-AF65-F5344CB8AC3E}">
        <p14:creationId xmlns:p14="http://schemas.microsoft.com/office/powerpoint/2010/main" val="31390297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32465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84E0C8"/>
                </a:solidFill>
                <a:sym typeface="Calibri" panose="020F0502020204030204" pitchFamily="34" charset="0"/>
              </a:rPr>
              <a:t>https://www.freepik.com/free-photo/front-view-delivery-man-with-mask-globes_8973138.htm#page=8&amp;query=transport+services&amp;position=2</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51</a:t>
            </a:fld>
            <a:endParaRPr lang="en-ID"/>
          </a:p>
        </p:txBody>
      </p:sp>
    </p:spTree>
    <p:extLst>
      <p:ext uri="{BB962C8B-B14F-4D97-AF65-F5344CB8AC3E}">
        <p14:creationId xmlns:p14="http://schemas.microsoft.com/office/powerpoint/2010/main" val="20310814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vi-VN"/>
              <a:t>Hội chứng ung thư di truyền: UT đại trực tràng di truyền không đa polyp, ung thư vú có mang đột biến gen BRCA2. </a:t>
            </a:r>
          </a:p>
          <a:p>
            <a:pPr marL="171450" indent="-171450">
              <a:buFontTx/>
              <a:buChar char="-"/>
            </a:pPr>
            <a:r>
              <a:rPr lang="vi-VN"/>
              <a:t>Hội chứng Peutz – Jeghers:  bệnh di truyền trội nhiễm sắc thể thường với nhiều polyp mô thừa trong dạ dày, ruột non và đại tràng cùng với các tổn thương sắc tố da đặc biệt.</a:t>
            </a:r>
          </a:p>
          <a:p>
            <a:pPr marL="171450" indent="-171450">
              <a:buFontTx/>
              <a:buChar char="-"/>
            </a:pPr>
            <a:r>
              <a:rPr lang="vi-VN"/>
              <a:t>Hội chứng gardner: </a:t>
            </a:r>
            <a:r>
              <a:rPr lang="en-US"/>
              <a:t>is a phenotypic variant of familial adenomatous polyposis. It is an autosomal dominant disease characterized by numerous adenomatous polyps lining the intestinal mucosal surface with a high potential for malignancy. </a:t>
            </a:r>
          </a:p>
          <a:p>
            <a:endParaRPr lang="en-ID"/>
          </a:p>
        </p:txBody>
      </p:sp>
      <p:sp>
        <p:nvSpPr>
          <p:cNvPr id="4" name="Slide Number Placeholder 3"/>
          <p:cNvSpPr>
            <a:spLocks noGrp="1"/>
          </p:cNvSpPr>
          <p:nvPr>
            <p:ph type="sldNum" sz="quarter" idx="5"/>
          </p:nvPr>
        </p:nvSpPr>
        <p:spPr/>
        <p:txBody>
          <a:bodyPr/>
          <a:lstStyle/>
          <a:p>
            <a:fld id="{8670653B-8FC2-4C8E-B0DB-DC6058263EA5}" type="slidenum">
              <a:rPr lang="en-ID" smtClean="0"/>
              <a:t>5</a:t>
            </a:fld>
            <a:endParaRPr lang="en-ID"/>
          </a:p>
        </p:txBody>
      </p:sp>
    </p:spTree>
    <p:extLst>
      <p:ext uri="{BB962C8B-B14F-4D97-AF65-F5344CB8AC3E}">
        <p14:creationId xmlns:p14="http://schemas.microsoft.com/office/powerpoint/2010/main" val="2031081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32323"/>
                </a:solidFill>
                <a:effectLst/>
                <a:latin typeface="Noto Sans" panose="020B0502040204020203" pitchFamily="34" charset="0"/>
              </a:rPr>
              <a:t>Clinical features are a consequence of a mass-effect of the adenoma compressing and impeding biliary or pancreatic outflow. </a:t>
            </a:r>
          </a:p>
          <a:p>
            <a:r>
              <a:rPr lang="en-US" b="0" i="0">
                <a:solidFill>
                  <a:srgbClr val="232323"/>
                </a:solidFill>
                <a:effectLst/>
                <a:latin typeface="Noto Sans" panose="020B0502040204020203" pitchFamily="34" charset="0"/>
              </a:rPr>
              <a:t>Vàng da là triệu chứng thường gặp nhất, theo sau là sụt cân và đau bụng, tuy nhiên tần suất vàng da chỉ 75%, điều này có nghĩa là bệnh cảnh ung thư quanh bóng vater đa dạng Tuy các u quanh bóng vater không thể phân biệt rạch ròi trên lâm sàng, tuy nhiên có thể gợi ý qua bệnh cảnh của từng bệnh;</a:t>
            </a:r>
          </a:p>
          <a:p>
            <a:pPr marL="171450" indent="-171450">
              <a:buFontTx/>
              <a:buChar char="-"/>
            </a:pPr>
            <a:r>
              <a:rPr lang="en-US" b="0" i="0">
                <a:solidFill>
                  <a:srgbClr val="232323"/>
                </a:solidFill>
                <a:effectLst/>
                <a:latin typeface="Noto Sans" panose="020B0502040204020203" pitchFamily="34" charset="0"/>
              </a:rPr>
              <a:t>Ut đầu tụy: đau mơ hồ, tăng về đêm và rối loạn tiêu hóa là biểu hiện đầu tiên, sau đó xuất hiện vàng da khi u lớn chèn ép đường mật, có thể có HC tắc đường thoát dạ dày, khám sờ thấy u.</a:t>
            </a:r>
          </a:p>
          <a:p>
            <a:pPr marL="171450" indent="-171450">
              <a:buFontTx/>
              <a:buChar char="-"/>
            </a:pPr>
            <a:r>
              <a:rPr lang="en-US" b="0" i="0">
                <a:solidFill>
                  <a:srgbClr val="232323"/>
                </a:solidFill>
                <a:effectLst/>
                <a:latin typeface="Noto Sans" panose="020B0502040204020203" pitchFamily="34" charset="0"/>
              </a:rPr>
              <a:t>UT bóng vater: vàng da sớm, từng đợt, tái phát, kèm XHTH , thiếu máu mạn</a:t>
            </a:r>
          </a:p>
          <a:p>
            <a:pPr marL="171450" indent="-171450">
              <a:buFontTx/>
              <a:buChar char="-"/>
            </a:pPr>
            <a:r>
              <a:rPr lang="en-US" b="0" i="0">
                <a:solidFill>
                  <a:srgbClr val="232323"/>
                </a:solidFill>
                <a:effectLst/>
                <a:latin typeface="Noto Sans" panose="020B0502040204020203" pitchFamily="34" charset="0"/>
              </a:rPr>
              <a:t>UT đoạn cuối OMC: vàng da là biểu hiện đầu tiên </a:t>
            </a:r>
          </a:p>
          <a:p>
            <a:pPr marL="171450" indent="-171450">
              <a:buFontTx/>
              <a:buChar char="-"/>
            </a:pPr>
            <a:r>
              <a:rPr lang="en-US" b="0" i="0">
                <a:solidFill>
                  <a:srgbClr val="232323"/>
                </a:solidFill>
                <a:effectLst/>
                <a:latin typeface="Noto Sans" panose="020B0502040204020203" pitchFamily="34" charset="0"/>
              </a:rPr>
              <a:t>UT tá tràng: gây vàng da thì thường u lớn, khi đó BN có biểu hiện XHTH thiếu máu mạn, và HC tắc đường thoát đạ dày, khám sờ thấy u. </a:t>
            </a:r>
            <a:endParaRPr lang="en-ID"/>
          </a:p>
          <a:p>
            <a:endParaRPr lang="en-ID"/>
          </a:p>
        </p:txBody>
      </p:sp>
      <p:sp>
        <p:nvSpPr>
          <p:cNvPr id="4" name="Slide Number Placeholder 3"/>
          <p:cNvSpPr>
            <a:spLocks noGrp="1"/>
          </p:cNvSpPr>
          <p:nvPr>
            <p:ph type="sldNum" sz="quarter" idx="5"/>
          </p:nvPr>
        </p:nvSpPr>
        <p:spPr/>
        <p:txBody>
          <a:bodyPr/>
          <a:lstStyle/>
          <a:p>
            <a:fld id="{22CD8BC6-B59B-4C55-9773-B2375864C73E}" type="slidenum">
              <a:rPr lang="en-ID" smtClean="0"/>
              <a:t>6</a:t>
            </a:fld>
            <a:endParaRPr lang="en-ID"/>
          </a:p>
        </p:txBody>
      </p:sp>
    </p:spTree>
    <p:extLst>
      <p:ext uri="{BB962C8B-B14F-4D97-AF65-F5344CB8AC3E}">
        <p14:creationId xmlns:p14="http://schemas.microsoft.com/office/powerpoint/2010/main" val="36543619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ình trạng dinh dưỡng liên quan tới giai đoạn bệnh trong UT quanh bóng vater và ảnh hưởng đến quyết định thực hiện phẫu thuật cắt khối tá tụy. </a:t>
            </a:r>
          </a:p>
          <a:p>
            <a:r>
              <a:rPr lang="vi-VN">
                <a:latin typeface="Arial"/>
                <a:cs typeface="Arial"/>
              </a:rPr>
              <a:t>- định luật Courvoisier: </a:t>
            </a:r>
            <a:r>
              <a:rPr lang="en-US">
                <a:latin typeface="Calibri"/>
                <a:cs typeface="Calibri"/>
              </a:rPr>
              <a:t> </a:t>
            </a:r>
            <a:r>
              <a:rPr lang="en-US"/>
              <a:t>It means that you have jaundice and a gallbladder that is enlarged but is not </a:t>
            </a:r>
            <a:r>
              <a:rPr lang="vi-VN">
                <a:latin typeface="Arial"/>
                <a:cs typeface="Arial"/>
              </a:rPr>
              <a:t>painful; </a:t>
            </a:r>
            <a:endParaRPr lang="en-ID">
              <a:latin typeface="Calibri" panose="020F0502020204030204"/>
              <a:cs typeface="Calibri" panose="020F0502020204030204"/>
            </a:endParaRPr>
          </a:p>
          <a:p>
            <a:r>
              <a:rPr lang="vi-VN"/>
              <a:t>a periumbilical nodule </a:t>
            </a:r>
          </a:p>
          <a:p>
            <a:r>
              <a:rPr lang="vi-VN" b="0" i="0">
                <a:solidFill>
                  <a:srgbClr val="000000"/>
                </a:solidFill>
                <a:effectLst/>
                <a:latin typeface="Arial" panose="020B0604020202020204" pitchFamily="34" charset="0"/>
              </a:rPr>
              <a:t>Chandramohan SM, Madhusudhanan J, Anbazhagan A, Duraisamy B, Dhalla BY, Chandrasekaran S. Common bile duct stone with Mirizzi's syndrome: Another exception to double duct sign and Courvoisier's law? Internet J Surg 2012;28:1-5. Available from: </a:t>
            </a:r>
            <a:r>
              <a:rPr lang="vi-VN" b="0" i="0" u="none" strike="noStrike">
                <a:solidFill>
                  <a:srgbClr val="0000FF"/>
                </a:solidFill>
                <a:effectLst/>
                <a:latin typeface="Arial" panose="020B0604020202020204" pitchFamily="34" charset="0"/>
                <a:hlinkClick r:id="rId3"/>
              </a:rPr>
              <a:t>http://ispub.com/IJS/28/2/14003</a:t>
            </a:r>
            <a:r>
              <a:rPr lang="vi-VN" b="0" i="0">
                <a:solidFill>
                  <a:srgbClr val="000000"/>
                </a:solidFill>
                <a:effectLst/>
                <a:latin typeface="Arial" panose="020B0604020202020204" pitchFamily="34" charset="0"/>
              </a:rPr>
              <a:t>. [Last accessed on 2019 Aug 03]:</a:t>
            </a:r>
          </a:p>
          <a:p>
            <a:r>
              <a:rPr lang="vi-VN" b="0" i="0">
                <a:solidFill>
                  <a:srgbClr val="000000"/>
                </a:solidFill>
                <a:effectLst/>
                <a:latin typeface="Arial" panose="020B0604020202020204" pitchFamily="34" charset="0"/>
              </a:rPr>
              <a:t>-&gt;</a:t>
            </a:r>
            <a:r>
              <a:rPr lang="vi-VN"/>
              <a:t>Courvoisier: nhạy 25-55%, đặc hiệu 83-90% </a:t>
            </a:r>
          </a:p>
          <a:p>
            <a:endParaRPr lang="en-ID"/>
          </a:p>
        </p:txBody>
      </p:sp>
      <p:sp>
        <p:nvSpPr>
          <p:cNvPr id="4" name="Slide Number Placeholder 3"/>
          <p:cNvSpPr>
            <a:spLocks noGrp="1"/>
          </p:cNvSpPr>
          <p:nvPr>
            <p:ph type="sldNum" sz="quarter" idx="5"/>
          </p:nvPr>
        </p:nvSpPr>
        <p:spPr/>
        <p:txBody>
          <a:bodyPr/>
          <a:lstStyle/>
          <a:p>
            <a:fld id="{22CD8BC6-B59B-4C55-9773-B2375864C73E}" type="slidenum">
              <a:rPr lang="en-ID" smtClean="0"/>
              <a:t>7</a:t>
            </a:fld>
            <a:endParaRPr lang="en-ID"/>
          </a:p>
        </p:txBody>
      </p:sp>
    </p:spTree>
    <p:extLst>
      <p:ext uri="{BB962C8B-B14F-4D97-AF65-F5344CB8AC3E}">
        <p14:creationId xmlns:p14="http://schemas.microsoft.com/office/powerpoint/2010/main" val="862232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Khi nghi ngờ u quanh bóng vater, để chẩn đoán xác định chúng ta cần các cận lâm sàng, trong đó, có vai trò quan trọng là các CLS hình ảnh</a:t>
            </a:r>
          </a:p>
          <a:p>
            <a:r>
              <a:rPr lang="vi-VN" dirty="0"/>
              <a:t>Các XN máu sinh hóa có vai trò đánh giá biến chứng, các marker UT có vai trờ tiên lượng và theo dõ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fld id="{22CD8BC6-B59B-4C55-9773-B2375864C73E}" type="slidenum">
              <a:rPr lang="en-ID" smtClean="0"/>
              <a:t>8</a:t>
            </a:fld>
            <a:endParaRPr lang="en-ID"/>
          </a:p>
        </p:txBody>
      </p:sp>
    </p:spTree>
    <p:extLst>
      <p:ext uri="{BB962C8B-B14F-4D97-AF65-F5344CB8AC3E}">
        <p14:creationId xmlns:p14="http://schemas.microsoft.com/office/powerpoint/2010/main" val="3604256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ụy nhiên CA 19-9 còn tăng trong các trường hợp viêm đường mật hoặc tắc mật do bất kì nguyên nhân, nên CA 19-9 dùng để làm baseline theo dõi nên đo khi đã giải áp đường mật và bilirubin về lại bình thường </a:t>
            </a:r>
          </a:p>
          <a:p>
            <a:pPr marL="0" marR="0" lvl="0" indent="0" algn="l" defTabSz="914400" rtl="0" eaLnBrk="1" fontAlgn="auto" latinLnBrk="0" hangingPunct="1">
              <a:lnSpc>
                <a:spcPct val="100000"/>
              </a:lnSpc>
              <a:spcBef>
                <a:spcPts val="0"/>
              </a:spcBef>
              <a:spcAft>
                <a:spcPts val="0"/>
              </a:spcAft>
              <a:buClrTx/>
              <a:buSzTx/>
              <a:buFontTx/>
              <a:buNone/>
              <a:tabLst/>
              <a:defRPr/>
            </a:pPr>
            <a:r>
              <a:rPr lang="en-ID"/>
              <a:t>CA 19-9</a:t>
            </a:r>
          </a:p>
        </p:txBody>
      </p:sp>
      <p:sp>
        <p:nvSpPr>
          <p:cNvPr id="4" name="Slide Number Placeholder 3"/>
          <p:cNvSpPr>
            <a:spLocks noGrp="1"/>
          </p:cNvSpPr>
          <p:nvPr>
            <p:ph type="sldNum" sz="quarter" idx="5"/>
          </p:nvPr>
        </p:nvSpPr>
        <p:spPr/>
        <p:txBody>
          <a:bodyPr/>
          <a:lstStyle/>
          <a:p>
            <a:fld id="{22CD8BC6-B59B-4C55-9773-B2375864C73E}" type="slidenum">
              <a:rPr lang="en-ID" smtClean="0"/>
              <a:t>9</a:t>
            </a:fld>
            <a:endParaRPr lang="en-ID"/>
          </a:p>
        </p:txBody>
      </p:sp>
    </p:spTree>
    <p:extLst>
      <p:ext uri="{BB962C8B-B14F-4D97-AF65-F5344CB8AC3E}">
        <p14:creationId xmlns:p14="http://schemas.microsoft.com/office/powerpoint/2010/main" val="11420900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2B8356-6620-4867-9E08-4E2775B00A5E}"/>
              </a:ext>
            </a:extLst>
          </p:cNvPr>
          <p:cNvSpPr>
            <a:spLocks noGrp="1"/>
          </p:cNvSpPr>
          <p:nvPr>
            <p:ph type="dt" sz="half" idx="10"/>
          </p:nvPr>
        </p:nvSpPr>
        <p:spPr>
          <a:xfrm>
            <a:off x="495300" y="6356350"/>
            <a:ext cx="2743200" cy="365125"/>
          </a:xfrm>
          <a:prstGeom prst="rect">
            <a:avLst/>
          </a:prstGeom>
        </p:spPr>
        <p:txBody>
          <a:bodyPr/>
          <a:lstStyle/>
          <a:p>
            <a:fld id="{7CB333A5-AB90-4439-903D-C710BC681B87}" type="datetimeFigureOut">
              <a:rPr lang="en-US" smtClean="0"/>
              <a:t>11/16/22</a:t>
            </a:fld>
            <a:endParaRPr lang="en-US"/>
          </a:p>
        </p:txBody>
      </p:sp>
      <p:sp>
        <p:nvSpPr>
          <p:cNvPr id="3" name="Footer Placeholder 2">
            <a:extLst>
              <a:ext uri="{FF2B5EF4-FFF2-40B4-BE49-F238E27FC236}">
                <a16:creationId xmlns:a16="http://schemas.microsoft.com/office/drawing/2014/main" id="{A5766D0C-8515-49A2-B6F0-95C1AAFE0946}"/>
              </a:ext>
            </a:extLst>
          </p:cNvPr>
          <p:cNvSpPr>
            <a:spLocks noGrp="1"/>
          </p:cNvSpPr>
          <p:nvPr>
            <p:ph type="ftr" sz="quarter" idx="11"/>
          </p:nvPr>
        </p:nvSpPr>
        <p:spPr>
          <a:xfrm>
            <a:off x="4038600" y="6438105"/>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36C11290-B525-43AA-9B2B-DE76FD6A73BE}"/>
              </a:ext>
            </a:extLst>
          </p:cNvPr>
          <p:cNvSpPr>
            <a:spLocks noGrp="1"/>
          </p:cNvSpPr>
          <p:nvPr>
            <p:ph type="sldNum" sz="quarter" idx="12"/>
          </p:nvPr>
        </p:nvSpPr>
        <p:spPr/>
        <p:txBody>
          <a:bodyPr/>
          <a:lstStyle/>
          <a:p>
            <a:fld id="{46F4BE6A-5C7D-4940-BC35-BD32E2BF2E3E}" type="slidenum">
              <a:rPr lang="en-US" smtClean="0"/>
              <a:t>‹#›</a:t>
            </a:fld>
            <a:endParaRPr lang="en-US"/>
          </a:p>
        </p:txBody>
      </p:sp>
    </p:spTree>
    <p:extLst>
      <p:ext uri="{BB962C8B-B14F-4D97-AF65-F5344CB8AC3E}">
        <p14:creationId xmlns:p14="http://schemas.microsoft.com/office/powerpoint/2010/main" val="3557613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Chỉ Tiêu đề">
    <p:spTree>
      <p:nvGrpSpPr>
        <p:cNvPr id="1" name=""/>
        <p:cNvGrpSpPr/>
        <p:nvPr/>
      </p:nvGrpSpPr>
      <p:grpSpPr>
        <a:xfrm>
          <a:off x="0" y="0"/>
          <a:ext cx="0" cy="0"/>
          <a:chOff x="0" y="0"/>
          <a:chExt cx="0" cy="0"/>
        </a:xfrm>
      </p:grpSpPr>
      <p:sp>
        <p:nvSpPr>
          <p:cNvPr id="2" name="Title 1"/>
          <p:cNvSpPr>
            <a:spLocks noGrp="1"/>
          </p:cNvSpPr>
          <p:nvPr>
            <p:ph type="title"/>
          </p:nvPr>
        </p:nvSpPr>
        <p:spPr>
          <a:xfrm>
            <a:off x="184292" y="157183"/>
            <a:ext cx="9404723" cy="767687"/>
          </a:xfrm>
        </p:spPr>
        <p:txBody>
          <a:bodyPr/>
          <a:lstStyle/>
          <a:p>
            <a:r>
              <a:rPr lang="vi-VN"/>
              <a:t>Bấm để sửa kiểu tiêu đề Bản cái</a:t>
            </a:r>
            <a:endParaRPr lang="en-US"/>
          </a:p>
        </p:txBody>
      </p:sp>
    </p:spTree>
    <p:extLst>
      <p:ext uri="{BB962C8B-B14F-4D97-AF65-F5344CB8AC3E}">
        <p14:creationId xmlns:p14="http://schemas.microsoft.com/office/powerpoint/2010/main" val="20067019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rống">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772036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Nội dung với Chú thích">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vi-VN"/>
              <a:t>Bấm để sửa kiểu tiêu đề Bản cái</a:t>
            </a:r>
            <a:endParaRPr lang="en-US"/>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7" name="Date Placeholder 4"/>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4896258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Ảnh với Chú thích">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vi-VN"/>
              <a:t>Bấm để sửa kiểu tiêu đề Bản cái</a:t>
            </a:r>
            <a:endParaRPr lang="en-US"/>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vi-VN"/>
              <a:t>Bấm biểu tượng để thêm hình ảnh</a:t>
            </a:r>
            <a:endParaRPr lang="en-US"/>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5" name="Date Placeholder 4"/>
          <p:cNvSpPr>
            <a:spLocks noGrp="1"/>
          </p:cNvSpPr>
          <p:nvPr>
            <p:ph type="dt" sz="half" idx="10"/>
          </p:nvPr>
        </p:nvSpPr>
        <p:spPr/>
        <p:txBody>
          <a:bodyPr/>
          <a:lstStyle/>
          <a:p>
            <a:fld id="{3BD88900-C735-4CEB-9CBA-8F2221E8E507}" type="datetimeFigureOut">
              <a:rPr lang="en-US" smtClean="0"/>
              <a:t>11/16/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34063411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Ảnh Toàn cảnh cùng với Chú thích">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vi-VN"/>
              <a:t>Bấm để sửa kiểu tiêu đề Bản cái</a:t>
            </a:r>
            <a:endParaRPr lang="en-US"/>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vi-VN"/>
              <a:t>Bấm biểu tượng để thêm hình ảnh</a:t>
            </a:r>
            <a:endParaRPr lang="en-US"/>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5" name="Date Placeholder 4"/>
          <p:cNvSpPr>
            <a:spLocks noGrp="1"/>
          </p:cNvSpPr>
          <p:nvPr>
            <p:ph type="dt" sz="half" idx="10"/>
          </p:nvPr>
        </p:nvSpPr>
        <p:spPr/>
        <p:txBody>
          <a:bodyPr/>
          <a:lstStyle/>
          <a:p>
            <a:fld id="{3BD88900-C735-4CEB-9CBA-8F2221E8E507}" type="datetimeFigureOut">
              <a:rPr lang="en-US" smtClean="0"/>
              <a:t>11/16/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2479261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êu đề và Chú thích">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vi-VN"/>
              <a:t>Bấm để sửa kiểu tiêu đề Bản cái</a:t>
            </a:r>
            <a:endParaRPr lang="en-US"/>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785365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rích dẫn cùng với Chú thích">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vi-VN"/>
              <a:t>Bấm để sửa kiểu tiêu đề Bản cái</a:t>
            </a:r>
            <a:endParaRPr lang="en-US"/>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vi-VN"/>
              <a:t>Bấm để chỉnh sửa kiểu văn bản của Bản cái</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a:t>”</a:t>
            </a:r>
          </a:p>
        </p:txBody>
      </p:sp>
    </p:spTree>
    <p:extLst>
      <p:ext uri="{BB962C8B-B14F-4D97-AF65-F5344CB8AC3E}">
        <p14:creationId xmlns:p14="http://schemas.microsoft.com/office/powerpoint/2010/main" val="1090444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anh Thiếp">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vi-VN"/>
              <a:t>Bấm để sửa kiểu tiêu đề Bản cái</a:t>
            </a:r>
            <a:endParaRPr lang="en-US"/>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vi-VN"/>
              <a:t>Bấm để chỉnh sửa kiểu văn bản của Bản cái</a:t>
            </a:r>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22872685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ộ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vi-VN"/>
              <a:t>Bấm để sửa kiểu tiêu đề Bản cái</a:t>
            </a:r>
            <a:endParaRPr lang="en-US"/>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712268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ột Hình ản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vi-VN"/>
              <a:t>Bấm để sửa kiểu tiêu đề Bản cái</a:t>
            </a:r>
            <a:endParaRPr lang="en-US"/>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vi-VN"/>
              <a:t>Bấm biểu tượng để thêm hình ảnh</a:t>
            </a:r>
            <a:endParaRPr lang="en-US"/>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vi-VN"/>
              <a:t>Bấm biểu tượng để thêm hình ảnh</a:t>
            </a:r>
            <a:endParaRPr lang="en-US"/>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vi-VN"/>
              <a:t>Bấm biểu tượng để thêm hình ảnh</a:t>
            </a:r>
            <a:endParaRPr lang="en-US"/>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vi-VN"/>
              <a:t>Bấm để chỉnh sửa kiểu văn bản của Bản cái</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449345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êu đề Bản chiếu">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vi-VN"/>
              <a:t>Bấm để sửa kiểu tiêu đề Bản cái</a:t>
            </a:r>
            <a:endParaRPr lang="en-US"/>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vi-VN"/>
              <a:t>Bấm để chỉnh sửa kiểu tiêu đề phụ của Bản cái</a:t>
            </a:r>
            <a:endParaRPr lang="en-US"/>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339665353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êu đề và Văn bản Dọ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vi-VN"/>
              <a:t>Bấm để sửa kiểu tiêu đề Bản cái</a:t>
            </a:r>
            <a:endParaRPr lang="en-US"/>
          </a:p>
        </p:txBody>
      </p:sp>
      <p:sp>
        <p:nvSpPr>
          <p:cNvPr id="3" name="Vertical Text Placeholder 2"/>
          <p:cNvSpPr>
            <a:spLocks noGrp="1"/>
          </p:cNvSpPr>
          <p:nvPr>
            <p:ph type="body" orient="vert" idx="1"/>
          </p:nvPr>
        </p:nvSpPr>
        <p:spPr/>
        <p:txBody>
          <a:bodyPr vert="eaVert" anchor="t" anchorCtr="0"/>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213462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iêu đề Dọc và Văn bả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vi-VN"/>
              <a:t>Bấm để sửa kiểu tiêu đề Bản cái</a:t>
            </a:r>
            <a:endParaRPr lang="en-US"/>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3989863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êu đề Bản chiế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F4060-3843-4BDA-AFE7-91CF8B568DB1}"/>
              </a:ext>
            </a:extLst>
          </p:cNvPr>
          <p:cNvSpPr>
            <a:spLocks noGrp="1"/>
          </p:cNvSpPr>
          <p:nvPr>
            <p:ph type="ctrTitle"/>
          </p:nvPr>
        </p:nvSpPr>
        <p:spPr>
          <a:xfrm>
            <a:off x="1524000" y="1122363"/>
            <a:ext cx="9144000" cy="2387600"/>
          </a:xfrm>
        </p:spPr>
        <p:txBody>
          <a:bodyPr anchor="b"/>
          <a:lstStyle>
            <a:lvl1pPr algn="ctr">
              <a:defRPr sz="6000"/>
            </a:lvl1pPr>
          </a:lstStyle>
          <a:p>
            <a:r>
              <a:rPr lang="vi-VN"/>
              <a:t>Bấm để sửa kiểu tiêu đề Bản cái</a:t>
            </a:r>
            <a:endParaRPr lang="en-US"/>
          </a:p>
        </p:txBody>
      </p:sp>
      <p:sp>
        <p:nvSpPr>
          <p:cNvPr id="3" name="Subtitle 2">
            <a:extLst>
              <a:ext uri="{FF2B5EF4-FFF2-40B4-BE49-F238E27FC236}">
                <a16:creationId xmlns:a16="http://schemas.microsoft.com/office/drawing/2014/main" id="{8AA568F0-ECA3-4735-B236-B9C372347A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vi-VN"/>
              <a:t>Bấm để chỉnh sửa kiểu tiêu đề phụ của Bản cái</a:t>
            </a:r>
            <a:endParaRPr lang="en-US"/>
          </a:p>
        </p:txBody>
      </p:sp>
      <p:sp>
        <p:nvSpPr>
          <p:cNvPr id="4" name="Date Placeholder 3">
            <a:extLst>
              <a:ext uri="{FF2B5EF4-FFF2-40B4-BE49-F238E27FC236}">
                <a16:creationId xmlns:a16="http://schemas.microsoft.com/office/drawing/2014/main" id="{535C5863-5ECD-4497-9482-C174E89042E6}"/>
              </a:ext>
            </a:extLst>
          </p:cNvPr>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a:extLst>
              <a:ext uri="{FF2B5EF4-FFF2-40B4-BE49-F238E27FC236}">
                <a16:creationId xmlns:a16="http://schemas.microsoft.com/office/drawing/2014/main" id="{81D52B2A-821A-42DE-ACFC-48411D412C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3D0BC7-C845-4442-B6D8-E3DD12385E21}"/>
              </a:ext>
            </a:extLst>
          </p:cNvPr>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22778883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Trốn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2B8356-6620-4867-9E08-4E2775B00A5E}"/>
              </a:ext>
            </a:extLst>
          </p:cNvPr>
          <p:cNvSpPr>
            <a:spLocks noGrp="1"/>
          </p:cNvSpPr>
          <p:nvPr>
            <p:ph type="dt" sz="half" idx="10"/>
          </p:nvPr>
        </p:nvSpPr>
        <p:spPr>
          <a:xfrm>
            <a:off x="495300" y="6356350"/>
            <a:ext cx="2743200" cy="365125"/>
          </a:xfrm>
          <a:prstGeom prst="rect">
            <a:avLst/>
          </a:prstGeom>
        </p:spPr>
        <p:txBody>
          <a:bodyPr/>
          <a:lstStyle/>
          <a:p>
            <a:fld id="{7CB333A5-AB90-4439-903D-C710BC681B87}" type="datetimeFigureOut">
              <a:rPr lang="en-US" smtClean="0"/>
              <a:t>11/16/22</a:t>
            </a:fld>
            <a:endParaRPr lang="en-US"/>
          </a:p>
        </p:txBody>
      </p:sp>
      <p:sp>
        <p:nvSpPr>
          <p:cNvPr id="3" name="Footer Placeholder 2">
            <a:extLst>
              <a:ext uri="{FF2B5EF4-FFF2-40B4-BE49-F238E27FC236}">
                <a16:creationId xmlns:a16="http://schemas.microsoft.com/office/drawing/2014/main" id="{A5766D0C-8515-49A2-B6F0-95C1AAFE0946}"/>
              </a:ext>
            </a:extLst>
          </p:cNvPr>
          <p:cNvSpPr>
            <a:spLocks noGrp="1"/>
          </p:cNvSpPr>
          <p:nvPr>
            <p:ph type="ftr" sz="quarter" idx="11"/>
          </p:nvPr>
        </p:nvSpPr>
        <p:spPr>
          <a:xfrm>
            <a:off x="4038600" y="6438105"/>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36C11290-B525-43AA-9B2B-DE76FD6A73BE}"/>
              </a:ext>
            </a:extLst>
          </p:cNvPr>
          <p:cNvSpPr>
            <a:spLocks noGrp="1"/>
          </p:cNvSpPr>
          <p:nvPr>
            <p:ph type="sldNum" sz="quarter" idx="12"/>
          </p:nvPr>
        </p:nvSpPr>
        <p:spPr/>
        <p:txBody>
          <a:bodyPr/>
          <a:lstStyle/>
          <a:p>
            <a:fld id="{46F4BE6A-5C7D-4940-BC35-BD32E2BF2E3E}" type="slidenum">
              <a:rPr lang="en-US" smtClean="0"/>
              <a:t>‹#›</a:t>
            </a:fld>
            <a:endParaRPr lang="en-US"/>
          </a:p>
        </p:txBody>
      </p:sp>
    </p:spTree>
    <p:extLst>
      <p:ext uri="{BB962C8B-B14F-4D97-AF65-F5344CB8AC3E}">
        <p14:creationId xmlns:p14="http://schemas.microsoft.com/office/powerpoint/2010/main" val="11011893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D220F-E595-4B99-A230-4D19ACEC1E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57D8A4-F175-4AF3-ABAB-06975B6A19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8374DB-50B9-4F4A-91FC-743AD209C254}"/>
              </a:ext>
            </a:extLst>
          </p:cNvPr>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a:extLst>
              <a:ext uri="{FF2B5EF4-FFF2-40B4-BE49-F238E27FC236}">
                <a16:creationId xmlns:a16="http://schemas.microsoft.com/office/drawing/2014/main" id="{19058D5E-9E73-4250-AE7E-09B65781DC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5E515C-4AAF-44AE-8382-EAB37B443961}"/>
              </a:ext>
            </a:extLst>
          </p:cNvPr>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8913331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F4060-3843-4BDA-AFE7-91CF8B568D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AA568F0-ECA3-4735-B236-B9C372347A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5C5863-5ECD-4497-9482-C174E89042E6}"/>
              </a:ext>
            </a:extLst>
          </p:cNvPr>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a:extLst>
              <a:ext uri="{FF2B5EF4-FFF2-40B4-BE49-F238E27FC236}">
                <a16:creationId xmlns:a16="http://schemas.microsoft.com/office/drawing/2014/main" id="{81D52B2A-821A-42DE-ACFC-48411D412C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3D0BC7-C845-4442-B6D8-E3DD12385E21}"/>
              </a:ext>
            </a:extLst>
          </p:cNvPr>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323071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52C67-F2E9-4A9E-99B0-6990E3A7DFCB}"/>
              </a:ext>
            </a:extLst>
          </p:cNvPr>
          <p:cNvSpPr>
            <a:spLocks noGrp="1"/>
          </p:cNvSpPr>
          <p:nvPr>
            <p:ph type="dt" sz="half" idx="10"/>
          </p:nvPr>
        </p:nvSpPr>
        <p:spPr/>
        <p:txBody>
          <a:bodyPr/>
          <a:lstStyle/>
          <a:p>
            <a:fld id="{3BD88900-C735-4CEB-9CBA-8F2221E8E507}" type="datetimeFigureOut">
              <a:rPr lang="en-US" smtClean="0"/>
              <a:t>11/16/22</a:t>
            </a:fld>
            <a:endParaRPr lang="en-US"/>
          </a:p>
        </p:txBody>
      </p:sp>
      <p:sp>
        <p:nvSpPr>
          <p:cNvPr id="3" name="Footer Placeholder 2">
            <a:extLst>
              <a:ext uri="{FF2B5EF4-FFF2-40B4-BE49-F238E27FC236}">
                <a16:creationId xmlns:a16="http://schemas.microsoft.com/office/drawing/2014/main" id="{804FB625-F4C8-427C-80E0-AA0E717569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93234B-884A-4601-84EB-5F7FE4C39FCE}"/>
              </a:ext>
            </a:extLst>
          </p:cNvPr>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042182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Chỉ Tiêu đề">
    <p:spTree>
      <p:nvGrpSpPr>
        <p:cNvPr id="1" name=""/>
        <p:cNvGrpSpPr/>
        <p:nvPr/>
      </p:nvGrpSpPr>
      <p:grpSpPr>
        <a:xfrm>
          <a:off x="0" y="0"/>
          <a:ext cx="0" cy="0"/>
          <a:chOff x="0" y="0"/>
          <a:chExt cx="0" cy="0"/>
        </a:xfrm>
      </p:grpSpPr>
      <p:sp>
        <p:nvSpPr>
          <p:cNvPr id="2" name="Title 1"/>
          <p:cNvSpPr>
            <a:spLocks noGrp="1"/>
          </p:cNvSpPr>
          <p:nvPr>
            <p:ph type="title"/>
          </p:nvPr>
        </p:nvSpPr>
        <p:spPr>
          <a:xfrm>
            <a:off x="184292" y="157183"/>
            <a:ext cx="9404723" cy="767687"/>
          </a:xfrm>
        </p:spPr>
        <p:txBody>
          <a:bodyPr/>
          <a:lstStyle/>
          <a:p>
            <a:r>
              <a:rPr lang="vi-VN"/>
              <a:t>Bấm để sửa kiểu tiêu đề Bản cái</a:t>
            </a:r>
            <a:endParaRPr lang="en-US"/>
          </a:p>
        </p:txBody>
      </p:sp>
    </p:spTree>
    <p:extLst>
      <p:ext uri="{BB962C8B-B14F-4D97-AF65-F5344CB8AC3E}">
        <p14:creationId xmlns:p14="http://schemas.microsoft.com/office/powerpoint/2010/main" val="22929590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D220F-E595-4B99-A230-4D19ACEC1E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57D8A4-F175-4AF3-ABAB-06975B6A19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8374DB-50B9-4F4A-91FC-743AD209C254}"/>
              </a:ext>
            </a:extLst>
          </p:cNvPr>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a:extLst>
              <a:ext uri="{FF2B5EF4-FFF2-40B4-BE49-F238E27FC236}">
                <a16:creationId xmlns:a16="http://schemas.microsoft.com/office/drawing/2014/main" id="{19058D5E-9E73-4250-AE7E-09B65781DC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5E515C-4AAF-44AE-8382-EAB37B443961}"/>
              </a:ext>
            </a:extLst>
          </p:cNvPr>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2640387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êu đề Bản chiếu">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vi-VN"/>
              <a:t>Bấm để sửa kiểu tiêu đề Bản cái</a:t>
            </a:r>
            <a:endParaRPr lang="en-US"/>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vi-VN"/>
              <a:t>Bấm để chỉnh sửa kiểu tiêu đề phụ của Bản cái</a:t>
            </a:r>
            <a:endParaRPr lang="en-US"/>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2127413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êu đề và Nội du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 l"/>
              </a:defRPr>
            </a:lvl1pPr>
          </a:lstStyle>
          <a:p>
            <a:r>
              <a:rPr lang="vi-VN"/>
              <a:t>Bấm để sửa kiểu tiêu đề Bản cái</a:t>
            </a:r>
            <a:endParaRPr lang="en-US"/>
          </a:p>
        </p:txBody>
      </p:sp>
      <p:sp>
        <p:nvSpPr>
          <p:cNvPr id="3" name="Content Placeholder 2"/>
          <p:cNvSpPr>
            <a:spLocks noGrp="1"/>
          </p:cNvSpPr>
          <p:nvPr>
            <p:ph idx="1"/>
          </p:nvPr>
        </p:nvSpPr>
        <p:spPr/>
        <p:txBody>
          <a:bodyPr/>
          <a:lstStyle>
            <a:lvl1pPr>
              <a:defRPr>
                <a:latin typeface="Aria  l"/>
              </a:defRPr>
            </a:lvl1pPr>
            <a:lvl2pPr>
              <a:defRPr>
                <a:latin typeface="Aria  l"/>
              </a:defRPr>
            </a:lvl2pPr>
            <a:lvl3pPr>
              <a:defRPr>
                <a:latin typeface="Aria  l"/>
              </a:defRPr>
            </a:lvl3pPr>
            <a:lvl4pPr>
              <a:defRPr>
                <a:latin typeface="Aria  l"/>
              </a:defRPr>
            </a:lvl4pPr>
            <a:lvl5pPr>
              <a:defRPr>
                <a:latin typeface="Aria  l"/>
              </a:defRPr>
            </a:lvl5p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7"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9847923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Đầu trang của Phần">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vi-VN"/>
              <a:t>Bấm để sửa kiểu tiêu đề Bản cái</a:t>
            </a:r>
            <a:endParaRPr lang="en-US"/>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vi-VN"/>
              <a:t>Bấm để chỉnh sửa kiểu văn bản của Bản cái</a:t>
            </a:r>
          </a:p>
        </p:txBody>
      </p:sp>
      <p:sp>
        <p:nvSpPr>
          <p:cNvPr id="4" name="Date Placeholder 3"/>
          <p:cNvSpPr>
            <a:spLocks noGrp="1"/>
          </p:cNvSpPr>
          <p:nvPr>
            <p:ph type="dt" sz="half" idx="10"/>
          </p:nvPr>
        </p:nvSpPr>
        <p:spPr/>
        <p:txBody>
          <a:bodyPr/>
          <a:lstStyle/>
          <a:p>
            <a:fld id="{3BD88900-C735-4CEB-9CBA-8F2221E8E507}" type="datetimeFigureOut">
              <a:rPr lang="en-US" smtClean="0"/>
              <a:t>11/1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19595886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Hai Nội du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vi-VN"/>
              <a:t>Bấm để sửa kiểu tiêu đề Bản cái</a:t>
            </a:r>
            <a:endParaRPr lang="en-US"/>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5" name="Date Placeholder 4"/>
          <p:cNvSpPr>
            <a:spLocks noGrp="1"/>
          </p:cNvSpPr>
          <p:nvPr>
            <p:ph type="dt" sz="half" idx="10"/>
          </p:nvPr>
        </p:nvSpPr>
        <p:spPr/>
        <p:txBody>
          <a:bodyPr/>
          <a:lstStyle/>
          <a:p>
            <a:fld id="{3BD88900-C735-4CEB-9CBA-8F2221E8E507}" type="datetimeFigureOut">
              <a:rPr lang="en-US" smtClean="0"/>
              <a:t>11/16/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902910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Phép so sán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vi-VN"/>
              <a:t>Bấm để sửa kiểu tiêu đề Bản cái</a:t>
            </a:r>
            <a:endParaRPr lang="en-US"/>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vi-VN"/>
              <a:t>Bấm để chỉnh sửa kiểu văn bản của Bản cái</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7" name="Date Placeholder 6"/>
          <p:cNvSpPr>
            <a:spLocks noGrp="1"/>
          </p:cNvSpPr>
          <p:nvPr>
            <p:ph type="dt" sz="half" idx="10"/>
          </p:nvPr>
        </p:nvSpPr>
        <p:spPr/>
        <p:txBody>
          <a:bodyPr/>
          <a:lstStyle/>
          <a:p>
            <a:fld id="{3BD88900-C735-4CEB-9CBA-8F2221E8E507}" type="datetimeFigureOut">
              <a:rPr lang="en-US" smtClean="0"/>
              <a:t>11/16/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9EF44A0-7777-4A95-9EBA-D58CA1F68D6D}" type="slidenum">
              <a:rPr lang="en-US" smtClean="0"/>
              <a:t>‹#›</a:t>
            </a:fld>
            <a:endParaRPr lang="en-US"/>
          </a:p>
        </p:txBody>
      </p:sp>
    </p:spTree>
    <p:extLst>
      <p:ext uri="{BB962C8B-B14F-4D97-AF65-F5344CB8AC3E}">
        <p14:creationId xmlns:p14="http://schemas.microsoft.com/office/powerpoint/2010/main" val="3801411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heme" Target="../theme/theme2.xml"/><Relationship Id="rId26" Type="http://schemas.openxmlformats.org/officeDocument/2006/relationships/oleObject" Target="../embeddings/oleObject2.bin"/><Relationship Id="rId3" Type="http://schemas.openxmlformats.org/officeDocument/2006/relationships/slideLayout" Target="../slideLayouts/slideLayout7.xml"/><Relationship Id="rId21" Type="http://schemas.openxmlformats.org/officeDocument/2006/relationships/image" Target="../media/image3.png"/><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7.jpeg"/><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ags" Target="../tags/tag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image" Target="../media/image6.png"/><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image" Target="../media/image5.png"/><Relationship Id="rId10" Type="http://schemas.openxmlformats.org/officeDocument/2006/relationships/slideLayout" Target="../slideLayouts/slideLayout14.xml"/><Relationship Id="rId19" Type="http://schemas.openxmlformats.org/officeDocument/2006/relationships/tags" Target="../tags/tag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image" Target="../media/image4.png"/><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3.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4.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oleObject" Target="../embeddings/oleObject5.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FBFAF85-75C5-481B-95B6-4D0E916F28F0}"/>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3" imgH="384" progId="TCLayout.ActiveDocument.1">
                  <p:embed/>
                </p:oleObj>
              </mc:Choice>
              <mc:Fallback>
                <p:oleObj name="think-cell Slide" r:id="rId8" imgW="383" imgH="384" progId="TCLayout.ActiveDocument.1">
                  <p:embed/>
                  <p:pic>
                    <p:nvPicPr>
                      <p:cNvPr id="11" name="Object 10" hidden="1">
                        <a:extLst>
                          <a:ext uri="{FF2B5EF4-FFF2-40B4-BE49-F238E27FC236}">
                            <a16:creationId xmlns:a16="http://schemas.microsoft.com/office/drawing/2014/main" id="{AFBFAF85-75C5-481B-95B6-4D0E916F28F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1FBB620-8C3E-4852-94CC-44BC3CB28D2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15FFCC6A-3796-4EE7-B7B9-83766E19DE42}"/>
              </a:ext>
            </a:extLst>
          </p:cNvPr>
          <p:cNvSpPr>
            <a:spLocks noGrp="1"/>
          </p:cNvSpPr>
          <p:nvPr>
            <p:ph type="title"/>
          </p:nvPr>
        </p:nvSpPr>
        <p:spPr>
          <a:xfrm>
            <a:off x="495300" y="365125"/>
            <a:ext cx="11201400" cy="866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A21BDD8-DA7E-402E-BDA8-ECAE2E1608DD}"/>
              </a:ext>
            </a:extLst>
          </p:cNvPr>
          <p:cNvSpPr>
            <a:spLocks noGrp="1"/>
          </p:cNvSpPr>
          <p:nvPr>
            <p:ph type="body" idx="1"/>
          </p:nvPr>
        </p:nvSpPr>
        <p:spPr>
          <a:xfrm>
            <a:off x="495300" y="1409700"/>
            <a:ext cx="11201400" cy="48675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52B28253-505D-4660-82E0-8414138185BD}"/>
              </a:ext>
            </a:extLst>
          </p:cNvPr>
          <p:cNvSpPr/>
          <p:nvPr userDrawn="1"/>
        </p:nvSpPr>
        <p:spPr>
          <a:xfrm>
            <a:off x="11315383" y="6438105"/>
            <a:ext cx="381317" cy="365125"/>
          </a:xfrm>
          <a:prstGeom prst="rect">
            <a:avLst/>
          </a:prstGeom>
          <a:solidFill>
            <a:srgbClr val="564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11696C2-3B2A-4285-A039-430054E60C72}"/>
              </a:ext>
            </a:extLst>
          </p:cNvPr>
          <p:cNvSpPr/>
          <p:nvPr userDrawn="1"/>
        </p:nvSpPr>
        <p:spPr>
          <a:xfrm>
            <a:off x="11315383" y="6803230"/>
            <a:ext cx="381317" cy="64295"/>
          </a:xfrm>
          <a:prstGeom prst="rect">
            <a:avLst/>
          </a:prstGeom>
          <a:solidFill>
            <a:srgbClr val="1019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F2094FC-A2CB-46FD-9713-9A510F6091E8}"/>
              </a:ext>
            </a:extLst>
          </p:cNvPr>
          <p:cNvSpPr>
            <a:spLocks noGrp="1"/>
          </p:cNvSpPr>
          <p:nvPr>
            <p:ph type="sldNum" sz="quarter" idx="4"/>
          </p:nvPr>
        </p:nvSpPr>
        <p:spPr>
          <a:xfrm>
            <a:off x="11315382" y="6438105"/>
            <a:ext cx="381318" cy="365125"/>
          </a:xfrm>
          <a:prstGeom prst="rect">
            <a:avLst/>
          </a:prstGeom>
        </p:spPr>
        <p:txBody>
          <a:bodyPr vert="horz" lIns="91440" tIns="45720" rIns="91440" bIns="45720" rtlCol="0" anchor="ctr"/>
          <a:lstStyle>
            <a:lvl1pPr algn="r">
              <a:defRPr sz="1200" b="1">
                <a:solidFill>
                  <a:schemeClr val="bg1"/>
                </a:solidFill>
                <a:latin typeface="Segoe UI" panose="020B0502040204020203" pitchFamily="34" charset="0"/>
                <a:cs typeface="Segoe UI" panose="020B0502040204020203" pitchFamily="34" charset="0"/>
              </a:defRPr>
            </a:lvl1pPr>
          </a:lstStyle>
          <a:p>
            <a:fld id="{46F4BE6A-5C7D-4940-BC35-BD32E2BF2E3E}" type="slidenum">
              <a:rPr lang="en-US" smtClean="0"/>
              <a:pPr/>
              <a:t>‹#›</a:t>
            </a:fld>
            <a:endParaRPr lang="en-US"/>
          </a:p>
        </p:txBody>
      </p:sp>
    </p:spTree>
    <p:extLst>
      <p:ext uri="{BB962C8B-B14F-4D97-AF65-F5344CB8AC3E}">
        <p14:creationId xmlns:p14="http://schemas.microsoft.com/office/powerpoint/2010/main" val="1170615416"/>
      </p:ext>
    </p:extLst>
  </p:cSld>
  <p:clrMap bg1="lt1" tx1="dk1" bg2="lt2" tx2="dk2" accent1="accent1" accent2="accent2" accent3="accent3" accent4="accent4" accent5="accent5" accent6="accent6" hlink="hlink" folHlink="folHlink"/>
  <p:sldLayoutIdLst>
    <p:sldLayoutId id="2147483667"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1">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2">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3">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4">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889" y="329439"/>
            <a:ext cx="9404723" cy="700265"/>
          </a:xfrm>
          <a:prstGeom prst="rect">
            <a:avLst/>
          </a:prstGeom>
        </p:spPr>
        <p:txBody>
          <a:bodyPr vert="horz" lIns="91440" tIns="45720" rIns="91440" bIns="45720" rtlCol="0" anchor="t">
            <a:noAutofit/>
          </a:bodyPr>
          <a:lstStyle/>
          <a:p>
            <a:r>
              <a:rPr lang="vi-VN"/>
              <a:t>Bấm để sửa kiểu tiêu đề Bản cái</a:t>
            </a:r>
            <a:endParaRPr lang="en-US"/>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3BD88900-C735-4CEB-9CBA-8F2221E8E507}" type="datetimeFigureOut">
              <a:rPr lang="en-US" smtClean="0"/>
              <a:t>11/16/22</a:t>
            </a:fld>
            <a:endParaRPr lang="en-US"/>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69EF44A0-7777-4A95-9EBA-D58CA1F68D6D}" type="slidenum">
              <a:rPr lang="en-US" smtClean="0"/>
              <a:t>‹#›</a:t>
            </a:fld>
            <a:endParaRPr lang="en-US"/>
          </a:p>
        </p:txBody>
      </p:sp>
      <p:pic>
        <p:nvPicPr>
          <p:cNvPr id="12" name="Picture 11">
            <a:extLst>
              <a:ext uri="{FF2B5EF4-FFF2-40B4-BE49-F238E27FC236}">
                <a16:creationId xmlns:a16="http://schemas.microsoft.com/office/drawing/2014/main" id="{AA83EBAE-ECFC-C8B9-2451-C5EF5F2CAB6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322325" y="190958"/>
            <a:ext cx="962025" cy="962025"/>
          </a:xfrm>
          <a:prstGeom prst="rect">
            <a:avLst/>
          </a:prstGeom>
        </p:spPr>
      </p:pic>
      <p:graphicFrame>
        <p:nvGraphicFramePr>
          <p:cNvPr id="11" name="Object 7" hidden="1">
            <a:extLst>
              <a:ext uri="{FF2B5EF4-FFF2-40B4-BE49-F238E27FC236}">
                <a16:creationId xmlns:a16="http://schemas.microsoft.com/office/drawing/2014/main" id="{13CAA609-6971-54C8-91AB-1CAA608EFE94}"/>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83" imgH="384" progId="TCLayout.ActiveDocument.1">
                  <p:embed/>
                </p:oleObj>
              </mc:Choice>
              <mc:Fallback>
                <p:oleObj name="think-cell Slide" r:id="rId26" imgW="383" imgH="384" progId="TCLayout.ActiveDocument.1">
                  <p:embed/>
                  <p:pic>
                    <p:nvPicPr>
                      <p:cNvPr id="11" name="Object 7" hidden="1">
                        <a:extLst>
                          <a:ext uri="{FF2B5EF4-FFF2-40B4-BE49-F238E27FC236}">
                            <a16:creationId xmlns:a16="http://schemas.microsoft.com/office/drawing/2014/main" id="{13CAA609-6971-54C8-91AB-1CAA608EFE9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3" name="Rectangle 6" hidden="1">
            <a:extLst>
              <a:ext uri="{FF2B5EF4-FFF2-40B4-BE49-F238E27FC236}">
                <a16:creationId xmlns:a16="http://schemas.microsoft.com/office/drawing/2014/main" id="{B8B32824-66C2-0B97-184F-0FDD28D9BDCB}"/>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479370003"/>
      </p:ext>
    </p:extLst>
  </p:cSld>
  <p:clrMap bg1="dk1" tx1="lt1" bg2="dk2" tx2="lt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txStyles>
    <p:titleStyle>
      <a:lvl1pPr algn="l" defTabSz="457200" rtl="0" eaLnBrk="1" latinLnBrk="0" hangingPunct="1">
        <a:spcBef>
          <a:spcPct val="0"/>
        </a:spcBef>
        <a:buNone/>
        <a:defRPr sz="4200" b="0" i="0" kern="1200">
          <a:solidFill>
            <a:schemeClr val="tx2"/>
          </a:solidFill>
          <a:latin typeface="Aria  l"/>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Aria  l"/>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Aria  l"/>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Aria  l"/>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Aria  l"/>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Aria  l"/>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BF3092-2DDC-4D76-AE7A-EC6EFD6DB66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8" name="Object 7" hidden="1">
                        <a:extLst>
                          <a:ext uri="{FF2B5EF4-FFF2-40B4-BE49-F238E27FC236}">
                            <a16:creationId xmlns:a16="http://schemas.microsoft.com/office/drawing/2014/main" id="{09BF3092-2DDC-4D76-AE7A-EC6EFD6DB6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FD26A8-10CA-4EAC-812F-1EF385618CA3}"/>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7140BD2E-BDF1-448D-933C-64819BD134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vi-VN"/>
              <a:t>Bấm để sửa kiểu tiêu đề Bản cái</a:t>
            </a:r>
            <a:endParaRPr lang="en-US"/>
          </a:p>
        </p:txBody>
      </p:sp>
      <p:sp>
        <p:nvSpPr>
          <p:cNvPr id="3" name="Text Placeholder 2">
            <a:extLst>
              <a:ext uri="{FF2B5EF4-FFF2-40B4-BE49-F238E27FC236}">
                <a16:creationId xmlns:a16="http://schemas.microsoft.com/office/drawing/2014/main" id="{C4AEDCD9-00B1-4D61-B490-86E6DD1AEB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4" name="Date Placeholder 3">
            <a:extLst>
              <a:ext uri="{FF2B5EF4-FFF2-40B4-BE49-F238E27FC236}">
                <a16:creationId xmlns:a16="http://schemas.microsoft.com/office/drawing/2014/main" id="{B24E51F7-30CA-4C9A-91E4-608969E6E5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D88900-C735-4CEB-9CBA-8F2221E8E507}" type="datetimeFigureOut">
              <a:rPr lang="en-US" smtClean="0"/>
              <a:t>11/16/22</a:t>
            </a:fld>
            <a:endParaRPr lang="en-US"/>
          </a:p>
        </p:txBody>
      </p:sp>
      <p:sp>
        <p:nvSpPr>
          <p:cNvPr id="5" name="Footer Placeholder 4">
            <a:extLst>
              <a:ext uri="{FF2B5EF4-FFF2-40B4-BE49-F238E27FC236}">
                <a16:creationId xmlns:a16="http://schemas.microsoft.com/office/drawing/2014/main" id="{9CD8EEA7-EA25-45CB-BEDC-1F7B9A908A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246C25C-E6F2-485B-BF7B-7267F2A82C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EF44A0-7777-4A95-9EBA-D58CA1F68D6D}" type="slidenum">
              <a:rPr lang="en-US" smtClean="0"/>
              <a:t>‹#›</a:t>
            </a:fld>
            <a:endParaRPr lang="en-US"/>
          </a:p>
        </p:txBody>
      </p:sp>
    </p:spTree>
    <p:extLst>
      <p:ext uri="{BB962C8B-B14F-4D97-AF65-F5344CB8AC3E}">
        <p14:creationId xmlns:p14="http://schemas.microsoft.com/office/powerpoint/2010/main" val="3012814620"/>
      </p:ext>
    </p:extLst>
  </p:cSld>
  <p:clrMap bg1="lt1" tx1="dk1" bg2="lt2" tx2="dk2" accent1="accent1" accent2="accent2" accent3="accent3" accent4="accent4" accent5="accent5" accent6="accent6" hlink="hlink" folHlink="folHlink"/>
  <p:sldLayoutIdLst>
    <p:sldLayoutId id="214748370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FBFAF85-75C5-481B-95B6-4D0E916F28F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FBFAF85-75C5-481B-95B6-4D0E916F28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1FBB620-8C3E-4852-94CC-44BC3CB28D29}"/>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15FFCC6A-3796-4EE7-B7B9-83766E19DE42}"/>
              </a:ext>
            </a:extLst>
          </p:cNvPr>
          <p:cNvSpPr>
            <a:spLocks noGrp="1"/>
          </p:cNvSpPr>
          <p:nvPr>
            <p:ph type="title"/>
          </p:nvPr>
        </p:nvSpPr>
        <p:spPr>
          <a:xfrm>
            <a:off x="495300" y="365125"/>
            <a:ext cx="11201400" cy="866775"/>
          </a:xfrm>
          <a:prstGeom prst="rect">
            <a:avLst/>
          </a:prstGeom>
        </p:spPr>
        <p:txBody>
          <a:bodyPr vert="horz" lIns="91440" tIns="45720" rIns="91440" bIns="45720" rtlCol="0" anchor="ctr">
            <a:normAutofit/>
          </a:bodyPr>
          <a:lstStyle/>
          <a:p>
            <a:r>
              <a:rPr lang="vi-VN"/>
              <a:t>Bấm để sửa kiểu tiêu đề Bản cái</a:t>
            </a:r>
            <a:endParaRPr lang="en-US"/>
          </a:p>
        </p:txBody>
      </p:sp>
      <p:sp>
        <p:nvSpPr>
          <p:cNvPr id="3" name="Text Placeholder 2">
            <a:extLst>
              <a:ext uri="{FF2B5EF4-FFF2-40B4-BE49-F238E27FC236}">
                <a16:creationId xmlns:a16="http://schemas.microsoft.com/office/drawing/2014/main" id="{6A21BDD8-DA7E-402E-BDA8-ECAE2E1608DD}"/>
              </a:ext>
            </a:extLst>
          </p:cNvPr>
          <p:cNvSpPr>
            <a:spLocks noGrp="1"/>
          </p:cNvSpPr>
          <p:nvPr>
            <p:ph type="body" idx="1"/>
          </p:nvPr>
        </p:nvSpPr>
        <p:spPr>
          <a:xfrm>
            <a:off x="495300" y="1409700"/>
            <a:ext cx="11201400" cy="4867532"/>
          </a:xfrm>
          <a:prstGeom prst="rect">
            <a:avLst/>
          </a:prstGeom>
        </p:spPr>
        <p:txBody>
          <a:bodyPr vert="horz" lIns="91440" tIns="45720" rIns="91440" bIns="45720" rtlCol="0">
            <a:normAutofit/>
          </a:bodyPr>
          <a:lstStyle/>
          <a:p>
            <a:pPr lvl="0"/>
            <a:r>
              <a:rPr lang="vi-VN"/>
              <a:t>Bấm để chỉnh sửa kiểu văn bản của Bản cái</a:t>
            </a:r>
          </a:p>
          <a:p>
            <a:pPr lvl="1"/>
            <a:r>
              <a:rPr lang="vi-VN"/>
              <a:t>Mức hai</a:t>
            </a:r>
          </a:p>
          <a:p>
            <a:pPr lvl="2"/>
            <a:r>
              <a:rPr lang="vi-VN"/>
              <a:t>Mức ba</a:t>
            </a:r>
          </a:p>
          <a:p>
            <a:pPr lvl="3"/>
            <a:r>
              <a:rPr lang="vi-VN"/>
              <a:t>Mức bốn</a:t>
            </a:r>
          </a:p>
          <a:p>
            <a:pPr lvl="4"/>
            <a:r>
              <a:rPr lang="vi-VN"/>
              <a:t>Mức năm</a:t>
            </a:r>
            <a:endParaRPr lang="en-US"/>
          </a:p>
        </p:txBody>
      </p:sp>
      <p:sp>
        <p:nvSpPr>
          <p:cNvPr id="12" name="Rectangle 11">
            <a:extLst>
              <a:ext uri="{FF2B5EF4-FFF2-40B4-BE49-F238E27FC236}">
                <a16:creationId xmlns:a16="http://schemas.microsoft.com/office/drawing/2014/main" id="{52B28253-505D-4660-82E0-8414138185BD}"/>
              </a:ext>
            </a:extLst>
          </p:cNvPr>
          <p:cNvSpPr/>
          <p:nvPr/>
        </p:nvSpPr>
        <p:spPr>
          <a:xfrm>
            <a:off x="11315383" y="6438105"/>
            <a:ext cx="381317" cy="365125"/>
          </a:xfrm>
          <a:prstGeom prst="rect">
            <a:avLst/>
          </a:prstGeom>
          <a:solidFill>
            <a:srgbClr val="564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11696C2-3B2A-4285-A039-430054E60C72}"/>
              </a:ext>
            </a:extLst>
          </p:cNvPr>
          <p:cNvSpPr/>
          <p:nvPr/>
        </p:nvSpPr>
        <p:spPr>
          <a:xfrm>
            <a:off x="11315383" y="6803230"/>
            <a:ext cx="381317" cy="64295"/>
          </a:xfrm>
          <a:prstGeom prst="rect">
            <a:avLst/>
          </a:prstGeom>
          <a:solidFill>
            <a:srgbClr val="1019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F2094FC-A2CB-46FD-9713-9A510F6091E8}"/>
              </a:ext>
            </a:extLst>
          </p:cNvPr>
          <p:cNvSpPr>
            <a:spLocks noGrp="1"/>
          </p:cNvSpPr>
          <p:nvPr>
            <p:ph type="sldNum" sz="quarter" idx="4"/>
          </p:nvPr>
        </p:nvSpPr>
        <p:spPr>
          <a:xfrm>
            <a:off x="11315382" y="6438105"/>
            <a:ext cx="381318" cy="365125"/>
          </a:xfrm>
          <a:prstGeom prst="rect">
            <a:avLst/>
          </a:prstGeom>
        </p:spPr>
        <p:txBody>
          <a:bodyPr vert="horz" lIns="91440" tIns="45720" rIns="91440" bIns="45720" rtlCol="0" anchor="ctr"/>
          <a:lstStyle>
            <a:lvl1pPr algn="r">
              <a:defRPr sz="1200" b="1">
                <a:solidFill>
                  <a:schemeClr val="bg1"/>
                </a:solidFill>
                <a:latin typeface="Segoe UI" panose="020B0502040204020203" pitchFamily="34" charset="0"/>
                <a:cs typeface="Segoe UI" panose="020B0502040204020203" pitchFamily="34" charset="0"/>
              </a:defRPr>
            </a:lvl1pPr>
          </a:lstStyle>
          <a:p>
            <a:fld id="{46F4BE6A-5C7D-4940-BC35-BD32E2BF2E3E}" type="slidenum">
              <a:rPr lang="en-US" smtClean="0"/>
              <a:pPr/>
              <a:t>‹#›</a:t>
            </a:fld>
            <a:endParaRPr lang="en-US"/>
          </a:p>
        </p:txBody>
      </p:sp>
    </p:spTree>
    <p:extLst>
      <p:ext uri="{BB962C8B-B14F-4D97-AF65-F5344CB8AC3E}">
        <p14:creationId xmlns:p14="http://schemas.microsoft.com/office/powerpoint/2010/main" val="3022392361"/>
      </p:ext>
    </p:extLst>
  </p:cSld>
  <p:clrMap bg1="lt1" tx1="dk1" bg2="lt2" tx2="dk2" accent1="accent1" accent2="accent2" accent3="accent3" accent4="accent4" accent5="accent5" accent6="accent6" hlink="hlink" folHlink="folHlink"/>
  <p:sldLayoutIdLst>
    <p:sldLayoutId id="2147483702" r:id="rId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BF3092-2DDC-4D76-AE7A-EC6EFD6DB666}"/>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3" imgH="384" progId="TCLayout.ActiveDocument.1">
                  <p:embed/>
                </p:oleObj>
              </mc:Choice>
              <mc:Fallback>
                <p:oleObj name="think-cell Slide" r:id="rId7" imgW="383" imgH="384" progId="TCLayout.ActiveDocument.1">
                  <p:embed/>
                  <p:pic>
                    <p:nvPicPr>
                      <p:cNvPr id="8" name="Object 7" hidden="1">
                        <a:extLst>
                          <a:ext uri="{FF2B5EF4-FFF2-40B4-BE49-F238E27FC236}">
                            <a16:creationId xmlns:a16="http://schemas.microsoft.com/office/drawing/2014/main" id="{09BF3092-2DDC-4D76-AE7A-EC6EFD6DB66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3FD26A8-10CA-4EAC-812F-1EF385618CA3}"/>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7140BD2E-BDF1-448D-933C-64819BD134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AEDCD9-00B1-4D61-B490-86E6DD1AEB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4E51F7-30CA-4C9A-91E4-608969E6E5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D88900-C735-4CEB-9CBA-8F2221E8E507}" type="datetimeFigureOut">
              <a:rPr lang="en-US" smtClean="0"/>
              <a:t>11/16/22</a:t>
            </a:fld>
            <a:endParaRPr lang="en-US"/>
          </a:p>
        </p:txBody>
      </p:sp>
      <p:sp>
        <p:nvSpPr>
          <p:cNvPr id="5" name="Footer Placeholder 4">
            <a:extLst>
              <a:ext uri="{FF2B5EF4-FFF2-40B4-BE49-F238E27FC236}">
                <a16:creationId xmlns:a16="http://schemas.microsoft.com/office/drawing/2014/main" id="{9CD8EEA7-EA25-45CB-BEDC-1F7B9A908A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246C25C-E6F2-485B-BF7B-7267F2A82C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EF44A0-7777-4A95-9EBA-D58CA1F68D6D}" type="slidenum">
              <a:rPr lang="en-US" smtClean="0"/>
              <a:t>‹#›</a:t>
            </a:fld>
            <a:endParaRPr lang="en-US"/>
          </a:p>
        </p:txBody>
      </p:sp>
    </p:spTree>
    <p:extLst>
      <p:ext uri="{BB962C8B-B14F-4D97-AF65-F5344CB8AC3E}">
        <p14:creationId xmlns:p14="http://schemas.microsoft.com/office/powerpoint/2010/main" val="1309426773"/>
      </p:ext>
    </p:extLst>
  </p:cSld>
  <p:clrMap bg1="lt1" tx1="dk1" bg2="lt2" tx2="dk2" accent1="accent1" accent2="accent2" accent3="accent3" accent4="accent4" accent5="accent5" accent6="accent6" hlink="hlink" folHlink="folHlink"/>
  <p:sldLayoutIdLst>
    <p:sldLayoutId id="2147483650" r:id="rId1"/>
    <p:sldLayoutId id="2147483649" r:id="rId2"/>
    <p:sldLayoutId id="214748365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25.xml"/><Relationship Id="rId4" Type="http://schemas.openxmlformats.org/officeDocument/2006/relationships/image" Target="../media/image26.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51.png"/><Relationship Id="rId4" Type="http://schemas.openxmlformats.org/officeDocument/2006/relationships/notesSlide" Target="../notesSlides/notesSlide4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8.xml"/><Relationship Id="rId7" Type="http://schemas.openxmlformats.org/officeDocument/2006/relationships/image" Target="../media/image18.svg"/><Relationship Id="rId2" Type="http://schemas.openxmlformats.org/officeDocument/2006/relationships/slideLayout" Target="../slideLayouts/slideLayout26.xml"/><Relationship Id="rId1" Type="http://schemas.openxmlformats.org/officeDocument/2006/relationships/tags" Target="../tags/tag13.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7.bin"/><Relationship Id="rId9" Type="http://schemas.openxmlformats.org/officeDocument/2006/relationships/image" Target="../media/image20.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6.xml"/><Relationship Id="rId1" Type="http://schemas.openxmlformats.org/officeDocument/2006/relationships/tags" Target="../tags/tag14.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9E4EC912-9C08-4514-9E28-CD8EF2B7F09B}"/>
              </a:ext>
            </a:extLst>
          </p:cNvPr>
          <p:cNvSpPr/>
          <p:nvPr/>
        </p:nvSpPr>
        <p:spPr>
          <a:xfrm>
            <a:off x="-5" y="0"/>
            <a:ext cx="2928735" cy="6858000"/>
          </a:xfrm>
          <a:custGeom>
            <a:avLst/>
            <a:gdLst>
              <a:gd name="connsiteX0" fmla="*/ 0 w 9686869"/>
              <a:gd name="connsiteY0" fmla="*/ 0 h 6858000"/>
              <a:gd name="connsiteX1" fmla="*/ 9660961 w 9686869"/>
              <a:gd name="connsiteY1" fmla="*/ 0 h 6858000"/>
              <a:gd name="connsiteX2" fmla="*/ 9682125 w 9686869"/>
              <a:gd name="connsiteY2" fmla="*/ 264979 h 6858000"/>
              <a:gd name="connsiteX3" fmla="*/ 9601200 w 9686869"/>
              <a:gd name="connsiteY3" fmla="*/ 1162050 h 6858000"/>
              <a:gd name="connsiteX4" fmla="*/ 8191500 w 9686869"/>
              <a:gd name="connsiteY4" fmla="*/ 2914650 h 6858000"/>
              <a:gd name="connsiteX5" fmla="*/ 8056304 w 9686869"/>
              <a:gd name="connsiteY5" fmla="*/ 6855672 h 6858000"/>
              <a:gd name="connsiteX6" fmla="*/ 8056337 w 9686869"/>
              <a:gd name="connsiteY6" fmla="*/ 6858000 h 6858000"/>
              <a:gd name="connsiteX7" fmla="*/ 0 w 968686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86869" h="6858000">
                <a:moveTo>
                  <a:pt x="0" y="0"/>
                </a:moveTo>
                <a:lnTo>
                  <a:pt x="9660961" y="0"/>
                </a:lnTo>
                <a:lnTo>
                  <a:pt x="9682125" y="264979"/>
                </a:lnTo>
                <a:cubicBezTo>
                  <a:pt x="9697343" y="586606"/>
                  <a:pt x="9677400" y="889397"/>
                  <a:pt x="9601200" y="1162050"/>
                </a:cubicBezTo>
                <a:cubicBezTo>
                  <a:pt x="9398000" y="1889125"/>
                  <a:pt x="8448675" y="1885950"/>
                  <a:pt x="8191500" y="2914650"/>
                </a:cubicBezTo>
                <a:cubicBezTo>
                  <a:pt x="7974509" y="3782616"/>
                  <a:pt x="8040058" y="5794307"/>
                  <a:pt x="8056304" y="6855672"/>
                </a:cubicBezTo>
                <a:lnTo>
                  <a:pt x="8056337" y="6858000"/>
                </a:lnTo>
                <a:lnTo>
                  <a:pt x="0" y="6858000"/>
                </a:ln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5" name="TextBox 24">
            <a:extLst>
              <a:ext uri="{FF2B5EF4-FFF2-40B4-BE49-F238E27FC236}">
                <a16:creationId xmlns:a16="http://schemas.microsoft.com/office/drawing/2014/main" id="{73DCDCD3-6F63-41CB-987C-69FCCCCD5779}"/>
              </a:ext>
            </a:extLst>
          </p:cNvPr>
          <p:cNvSpPr txBox="1"/>
          <p:nvPr/>
        </p:nvSpPr>
        <p:spPr>
          <a:xfrm>
            <a:off x="9753600" y="4200939"/>
            <a:ext cx="2464576" cy="2696917"/>
          </a:xfrm>
          <a:custGeom>
            <a:avLst/>
            <a:gdLst>
              <a:gd name="connsiteX0" fmla="*/ 782246 w 782246"/>
              <a:gd name="connsiteY0" fmla="*/ 0 h 3210375"/>
              <a:gd name="connsiteX1" fmla="*/ 782246 w 782246"/>
              <a:gd name="connsiteY1" fmla="*/ 3210375 h 3210375"/>
              <a:gd name="connsiteX2" fmla="*/ 12548 w 782246"/>
              <a:gd name="connsiteY2" fmla="*/ 3210375 h 3210375"/>
              <a:gd name="connsiteX3" fmla="*/ 12530 w 782246"/>
              <a:gd name="connsiteY3" fmla="*/ 3208979 h 3210375"/>
              <a:gd name="connsiteX4" fmla="*/ 89587 w 782246"/>
              <a:gd name="connsiteY4" fmla="*/ 844366 h 3210375"/>
              <a:gd name="connsiteX5" fmla="*/ 739283 w 782246"/>
              <a:gd name="connsiteY5" fmla="*/ 54357 h 321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2246" h="3210375">
                <a:moveTo>
                  <a:pt x="782246" y="0"/>
                </a:moveTo>
                <a:lnTo>
                  <a:pt x="782246" y="3210375"/>
                </a:lnTo>
                <a:lnTo>
                  <a:pt x="12548" y="3210375"/>
                </a:lnTo>
                <a:lnTo>
                  <a:pt x="12530" y="3208979"/>
                </a:lnTo>
                <a:cubicBezTo>
                  <a:pt x="3270" y="2572160"/>
                  <a:pt x="-34092" y="1365146"/>
                  <a:pt x="89587" y="844366"/>
                </a:cubicBezTo>
                <a:cubicBezTo>
                  <a:pt x="199524" y="381451"/>
                  <a:pt x="531370" y="266794"/>
                  <a:pt x="739283" y="5435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US">
              <a:sym typeface="Calibri" panose="020F0502020204030204" pitchFamily="34" charset="0"/>
            </a:endParaRPr>
          </a:p>
        </p:txBody>
      </p:sp>
      <p:grpSp>
        <p:nvGrpSpPr>
          <p:cNvPr id="41" name="Group 40">
            <a:extLst>
              <a:ext uri="{FF2B5EF4-FFF2-40B4-BE49-F238E27FC236}">
                <a16:creationId xmlns:a16="http://schemas.microsoft.com/office/drawing/2014/main" id="{C798E251-C664-449F-A9CD-307940ABF567}"/>
              </a:ext>
            </a:extLst>
          </p:cNvPr>
          <p:cNvGrpSpPr/>
          <p:nvPr/>
        </p:nvGrpSpPr>
        <p:grpSpPr>
          <a:xfrm>
            <a:off x="781879" y="1972549"/>
            <a:ext cx="10688664" cy="1789649"/>
            <a:chOff x="7044673" y="1293475"/>
            <a:chExt cx="3935747" cy="1789649"/>
          </a:xfrm>
        </p:grpSpPr>
        <p:sp>
          <p:nvSpPr>
            <p:cNvPr id="32" name="Rectangle 31">
              <a:extLst>
                <a:ext uri="{FF2B5EF4-FFF2-40B4-BE49-F238E27FC236}">
                  <a16:creationId xmlns:a16="http://schemas.microsoft.com/office/drawing/2014/main" id="{0254CD6C-6F2A-43F1-81EE-18E08BFC464B}"/>
                </a:ext>
              </a:extLst>
            </p:cNvPr>
            <p:cNvSpPr/>
            <p:nvPr/>
          </p:nvSpPr>
          <p:spPr>
            <a:xfrm>
              <a:off x="7044673" y="1728907"/>
              <a:ext cx="3935747" cy="1354217"/>
            </a:xfrm>
            <a:prstGeom prst="rect">
              <a:avLst/>
            </a:prstGeom>
          </p:spPr>
          <p:txBody>
            <a:bodyPr wrap="square" lIns="0" tIns="0" rIns="0" bIns="0">
              <a:spAutoFit/>
            </a:bodyPr>
            <a:lstStyle/>
            <a:p>
              <a:pPr algn="r"/>
              <a:r>
                <a:rPr lang="vi-VN" sz="4400">
                  <a:solidFill>
                    <a:schemeClr val="accent1">
                      <a:lumMod val="75000"/>
                    </a:schemeClr>
                  </a:solidFill>
                  <a:latin typeface="Segoe UI Black" panose="020B0A02040204020203" pitchFamily="34" charset="0"/>
                  <a:ea typeface="Segoe UI Black" panose="020B0A02040204020203" pitchFamily="34" charset="0"/>
                </a:rPr>
                <a:t>CHUYÊN ĐỀ </a:t>
              </a:r>
              <a:br>
                <a:rPr lang="vi-VN" sz="4400">
                  <a:solidFill>
                    <a:schemeClr val="accent1">
                      <a:lumMod val="75000"/>
                    </a:schemeClr>
                  </a:solidFill>
                  <a:latin typeface="Segoe UI Black" panose="020B0A02040204020203" pitchFamily="34" charset="0"/>
                  <a:ea typeface="Segoe UI Black" panose="020B0A02040204020203" pitchFamily="34" charset="0"/>
                </a:rPr>
              </a:br>
              <a:r>
                <a:rPr lang="vi-VN" sz="4400">
                  <a:solidFill>
                    <a:schemeClr val="accent1">
                      <a:lumMod val="75000"/>
                    </a:schemeClr>
                  </a:solidFill>
                  <a:latin typeface="Segoe UI Black" panose="020B0A02040204020203" pitchFamily="34" charset="0"/>
                  <a:ea typeface="Segoe UI Black" panose="020B0A02040204020203" pitchFamily="34" charset="0"/>
                </a:rPr>
                <a:t>UNG THƯ QUANH BÓNG VATER</a:t>
              </a:r>
              <a:endParaRPr lang="en-US" sz="4400">
                <a:solidFill>
                  <a:schemeClr val="accent1">
                    <a:lumMod val="75000"/>
                  </a:schemeClr>
                </a:solidFill>
                <a:latin typeface="Segoe UI Black" panose="020B0A02040204020203" pitchFamily="34" charset="0"/>
                <a:ea typeface="Segoe UI Black" panose="020B0A02040204020203" pitchFamily="34" charset="0"/>
              </a:endParaRPr>
            </a:p>
          </p:txBody>
        </p:sp>
        <p:sp>
          <p:nvSpPr>
            <p:cNvPr id="40" name="TextBox 39">
              <a:extLst>
                <a:ext uri="{FF2B5EF4-FFF2-40B4-BE49-F238E27FC236}">
                  <a16:creationId xmlns:a16="http://schemas.microsoft.com/office/drawing/2014/main" id="{40D794A0-2573-417C-BCD3-8A8FDB5E2271}"/>
                </a:ext>
              </a:extLst>
            </p:cNvPr>
            <p:cNvSpPr txBox="1"/>
            <p:nvPr/>
          </p:nvSpPr>
          <p:spPr>
            <a:xfrm>
              <a:off x="10024557" y="1293475"/>
              <a:ext cx="955863" cy="104776"/>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US">
                <a:sym typeface="Calibri" panose="020F0502020204030204" pitchFamily="34" charset="0"/>
              </a:endParaRPr>
            </a:p>
          </p:txBody>
        </p:sp>
      </p:grpSp>
      <p:sp>
        <p:nvSpPr>
          <p:cNvPr id="3" name="Tiêu đề phụ 2">
            <a:extLst>
              <a:ext uri="{FF2B5EF4-FFF2-40B4-BE49-F238E27FC236}">
                <a16:creationId xmlns:a16="http://schemas.microsoft.com/office/drawing/2014/main" id="{DF4FCC1F-00DF-2A6F-6777-8D8CCF29169B}"/>
              </a:ext>
            </a:extLst>
          </p:cNvPr>
          <p:cNvSpPr>
            <a:spLocks noGrp="1"/>
          </p:cNvSpPr>
          <p:nvPr>
            <p:ph type="subTitle" idx="1"/>
          </p:nvPr>
        </p:nvSpPr>
        <p:spPr>
          <a:xfrm>
            <a:off x="5123017" y="4347184"/>
            <a:ext cx="6976674" cy="2005281"/>
          </a:xfrm>
        </p:spPr>
        <p:txBody>
          <a:bodyPr>
            <a:normAutofit/>
          </a:bodyPr>
          <a:lstStyle/>
          <a:p>
            <a:pPr algn="l"/>
            <a:r>
              <a:rPr lang="en-US" sz="1600" b="1">
                <a:solidFill>
                  <a:schemeClr val="accent1">
                    <a:lumMod val="50000"/>
                  </a:schemeClr>
                </a:solidFill>
                <a:latin typeface="Arial" panose="020B0604020202020204" pitchFamily="34" charset="0"/>
                <a:cs typeface="Arial" panose="020B0604020202020204" pitchFamily="34" charset="0"/>
              </a:rPr>
              <a:t>SINH VIÊN TRÌNH BÀY: </a:t>
            </a:r>
          </a:p>
          <a:p>
            <a:pPr algn="l"/>
            <a:r>
              <a:rPr lang="en-US" sz="1600" b="1">
                <a:solidFill>
                  <a:schemeClr val="accent1">
                    <a:lumMod val="50000"/>
                  </a:schemeClr>
                </a:solidFill>
                <a:latin typeface="Arial" panose="020B0604020202020204" pitchFamily="34" charset="0"/>
                <a:cs typeface="Arial" panose="020B0604020202020204" pitchFamily="34" charset="0"/>
              </a:rPr>
              <a:t>	LƯU NHẬT QUÂN – TỔ 28</a:t>
            </a:r>
          </a:p>
          <a:p>
            <a:pPr algn="l"/>
            <a:r>
              <a:rPr lang="en-US" sz="1600" b="1">
                <a:solidFill>
                  <a:schemeClr val="accent1">
                    <a:lumMod val="50000"/>
                  </a:schemeClr>
                </a:solidFill>
                <a:latin typeface="Arial" panose="020B0604020202020204" pitchFamily="34" charset="0"/>
                <a:cs typeface="Arial" panose="020B0604020202020204" pitchFamily="34" charset="0"/>
              </a:rPr>
              <a:t> 	NGUYỄN HOÀNG QUÂN – TỔ 29</a:t>
            </a:r>
          </a:p>
          <a:p>
            <a:pPr algn="l"/>
            <a:r>
              <a:rPr lang="en-US" sz="1600" b="1">
                <a:solidFill>
                  <a:schemeClr val="accent1">
                    <a:lumMod val="50000"/>
                  </a:schemeClr>
                </a:solidFill>
                <a:latin typeface="Arial" panose="020B0604020202020204" pitchFamily="34" charset="0"/>
                <a:cs typeface="Arial" panose="020B0604020202020204" pitchFamily="34" charset="0"/>
              </a:rPr>
              <a:t>GVHD: BS. LÝ HỮU TUẤN </a:t>
            </a:r>
            <a:endParaRPr lang="vi-VN" sz="1600" b="1">
              <a:solidFill>
                <a:schemeClr val="accent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2651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52391E5D-A377-9F6B-C718-F57E1A38F2BF}"/>
              </a:ext>
            </a:extLst>
          </p:cNvPr>
          <p:cNvSpPr>
            <a:spLocks noGrp="1"/>
          </p:cNvSpPr>
          <p:nvPr>
            <p:ph type="title"/>
          </p:nvPr>
        </p:nvSpPr>
        <p:spPr/>
        <p:txBody>
          <a:bodyPr/>
          <a:lstStyle/>
          <a:p>
            <a:r>
              <a:rPr lang="en-US"/>
              <a:t>LƯU ĐỒ TIẾP CẬN</a:t>
            </a:r>
            <a:endParaRPr lang="vi-VN"/>
          </a:p>
        </p:txBody>
      </p:sp>
      <p:pic>
        <p:nvPicPr>
          <p:cNvPr id="4" name="Picture 3">
            <a:extLst>
              <a:ext uri="{FF2B5EF4-FFF2-40B4-BE49-F238E27FC236}">
                <a16:creationId xmlns:a16="http://schemas.microsoft.com/office/drawing/2014/main" id="{314DA6DF-7378-436B-F54C-39B0A67A29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3638" y="1153817"/>
            <a:ext cx="9404723" cy="5547000"/>
          </a:xfrm>
          <a:prstGeom prst="rect">
            <a:avLst/>
          </a:prstGeom>
        </p:spPr>
      </p:pic>
    </p:spTree>
    <p:extLst>
      <p:ext uri="{BB962C8B-B14F-4D97-AF65-F5344CB8AC3E}">
        <p14:creationId xmlns:p14="http://schemas.microsoft.com/office/powerpoint/2010/main" val="2479612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Freeform: Shape 67">
            <a:extLst>
              <a:ext uri="{FF2B5EF4-FFF2-40B4-BE49-F238E27FC236}">
                <a16:creationId xmlns:a16="http://schemas.microsoft.com/office/drawing/2014/main" id="{23F0C8A8-EBAB-4071-851C-3BBEB54BBBC4}"/>
              </a:ext>
            </a:extLst>
          </p:cNvPr>
          <p:cNvSpPr/>
          <p:nvPr/>
        </p:nvSpPr>
        <p:spPr>
          <a:xfrm>
            <a:off x="-1"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457200" algn="ctr">
              <a:lnSpc>
                <a:spcPct val="90000"/>
              </a:lnSpc>
              <a:spcBef>
                <a:spcPts val="1000"/>
              </a:spcBef>
              <a:buSzPct val="100000"/>
            </a:pPr>
            <a:endParaRPr lang="en-US">
              <a:latin typeface="Calibri" panose="020F0502020204030204" pitchFamily="34" charset="0"/>
            </a:endParaRPr>
          </a:p>
        </p:txBody>
      </p:sp>
      <p:sp>
        <p:nvSpPr>
          <p:cNvPr id="50" name="Rectangle: Top Corners Rounded 49">
            <a:extLst>
              <a:ext uri="{FF2B5EF4-FFF2-40B4-BE49-F238E27FC236}">
                <a16:creationId xmlns:a16="http://schemas.microsoft.com/office/drawing/2014/main" id="{658CCB48-EFFD-42D9-BF6A-280EA5D8DA0F}"/>
              </a:ext>
            </a:extLst>
          </p:cNvPr>
          <p:cNvSpPr/>
          <p:nvPr/>
        </p:nvSpPr>
        <p:spPr>
          <a:xfrm rot="16200000">
            <a:off x="4578816" y="-1250490"/>
            <a:ext cx="4496852" cy="10729525"/>
          </a:xfrm>
          <a:prstGeom prst="round2SameRect">
            <a:avLst>
              <a:gd name="adj1" fmla="val 4465"/>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a:extLst>
              <a:ext uri="{FF2B5EF4-FFF2-40B4-BE49-F238E27FC236}">
                <a16:creationId xmlns:a16="http://schemas.microsoft.com/office/drawing/2014/main" id="{05C09C45-5E61-4FAA-BCD3-909AFCEC4EC3}"/>
              </a:ext>
            </a:extLst>
          </p:cNvPr>
          <p:cNvGrpSpPr/>
          <p:nvPr/>
        </p:nvGrpSpPr>
        <p:grpSpPr>
          <a:xfrm>
            <a:off x="533402" y="492718"/>
            <a:ext cx="4748095" cy="965827"/>
            <a:chOff x="533402" y="492718"/>
            <a:chExt cx="4748095" cy="965827"/>
          </a:xfrm>
        </p:grpSpPr>
        <p:sp>
          <p:nvSpPr>
            <p:cNvPr id="7" name="TextBox 6">
              <a:extLst>
                <a:ext uri="{FF2B5EF4-FFF2-40B4-BE49-F238E27FC236}">
                  <a16:creationId xmlns:a16="http://schemas.microsoft.com/office/drawing/2014/main" id="{9065F0BC-0A5E-4161-BF7D-AC055EABC39D}"/>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51" name="TextBox 50">
              <a:extLst>
                <a:ext uri="{FF2B5EF4-FFF2-40B4-BE49-F238E27FC236}">
                  <a16:creationId xmlns:a16="http://schemas.microsoft.com/office/drawing/2014/main" id="{7DF1AB91-8AE7-412A-8A3F-8BF9CF07638E}"/>
                </a:ext>
              </a:extLst>
            </p:cNvPr>
            <p:cNvSpPr txBox="1"/>
            <p:nvPr/>
          </p:nvSpPr>
          <p:spPr>
            <a:xfrm>
              <a:off x="533402" y="966102"/>
              <a:ext cx="4748095" cy="492443"/>
            </a:xfrm>
            <a:prstGeom prst="rect">
              <a:avLst/>
            </a:prstGeom>
            <a:noFill/>
          </p:spPr>
          <p:txBody>
            <a:bodyPr wrap="none" lIns="0" tIns="0" rIns="0" bIns="0" rtlCol="0" anchor="ctr">
              <a:spAutoFit/>
            </a:bodyPr>
            <a:lstStyle/>
            <a:p>
              <a:r>
                <a:rPr lang="en-US" sz="3200" b="1">
                  <a:latin typeface="Arial" panose="020B0604020202020204" pitchFamily="34" charset="0"/>
                  <a:ea typeface="Segoe UI Black" panose="020B0A02040204020203" pitchFamily="34" charset="0"/>
                  <a:cs typeface="Arial" panose="020B0604020202020204" pitchFamily="34" charset="0"/>
                </a:rPr>
                <a:t>TIẾP CẬN CHẨN ĐOÁN </a:t>
              </a:r>
            </a:p>
          </p:txBody>
        </p:sp>
      </p:grpSp>
      <p:sp>
        <p:nvSpPr>
          <p:cNvPr id="59" name="Freeform: Shape 58">
            <a:extLst>
              <a:ext uri="{FF2B5EF4-FFF2-40B4-BE49-F238E27FC236}">
                <a16:creationId xmlns:a16="http://schemas.microsoft.com/office/drawing/2014/main" id="{F00AE12C-A10C-41C1-8465-D0A4833058B8}"/>
              </a:ext>
            </a:extLst>
          </p:cNvPr>
          <p:cNvSpPr/>
          <p:nvPr/>
        </p:nvSpPr>
        <p:spPr>
          <a:xfrm>
            <a:off x="6099994" y="0"/>
            <a:ext cx="609200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70" name="TextBox 69">
            <a:extLst>
              <a:ext uri="{FF2B5EF4-FFF2-40B4-BE49-F238E27FC236}">
                <a16:creationId xmlns:a16="http://schemas.microsoft.com/office/drawing/2014/main" id="{59C3BCDD-8DB4-44E3-9ABE-0B8A33955C4E}"/>
              </a:ext>
            </a:extLst>
          </p:cNvPr>
          <p:cNvSpPr txBox="1"/>
          <p:nvPr/>
        </p:nvSpPr>
        <p:spPr>
          <a:xfrm>
            <a:off x="1105295" y="2472720"/>
            <a:ext cx="689084" cy="689084"/>
          </a:xfrm>
          <a:prstGeom prst="ellipse">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r>
              <a:rPr lang="en-US" sz="2800" b="1">
                <a:latin typeface="Arial" panose="020B0604020202020204" pitchFamily="34" charset="0"/>
                <a:cs typeface="Arial" panose="020B0604020202020204" pitchFamily="34" charset="0"/>
                <a:sym typeface="Calibri" panose="020F0502020204030204" pitchFamily="34" charset="0"/>
              </a:rPr>
              <a:t>1</a:t>
            </a:r>
          </a:p>
        </p:txBody>
      </p:sp>
      <p:sp>
        <p:nvSpPr>
          <p:cNvPr id="71" name="TextBox 70">
            <a:extLst>
              <a:ext uri="{FF2B5EF4-FFF2-40B4-BE49-F238E27FC236}">
                <a16:creationId xmlns:a16="http://schemas.microsoft.com/office/drawing/2014/main" id="{D308D527-A254-45FE-8589-A0C5C39ECD62}"/>
              </a:ext>
            </a:extLst>
          </p:cNvPr>
          <p:cNvSpPr txBox="1"/>
          <p:nvPr/>
        </p:nvSpPr>
        <p:spPr>
          <a:xfrm>
            <a:off x="1105295" y="3769730"/>
            <a:ext cx="689084" cy="689084"/>
          </a:xfrm>
          <a:prstGeom prst="ellipse">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r>
              <a:rPr lang="en-US" sz="2800" b="1">
                <a:latin typeface="Arial" panose="020B0604020202020204" pitchFamily="34" charset="0"/>
                <a:cs typeface="Arial" panose="020B0604020202020204" pitchFamily="34" charset="0"/>
                <a:sym typeface="Calibri" panose="020F0502020204030204" pitchFamily="34" charset="0"/>
              </a:rPr>
              <a:t>2</a:t>
            </a:r>
          </a:p>
        </p:txBody>
      </p:sp>
      <p:sp>
        <p:nvSpPr>
          <p:cNvPr id="72" name="TextBox 71">
            <a:extLst>
              <a:ext uri="{FF2B5EF4-FFF2-40B4-BE49-F238E27FC236}">
                <a16:creationId xmlns:a16="http://schemas.microsoft.com/office/drawing/2014/main" id="{452D9CC6-5EFC-400C-BA97-68B79F1FAB85}"/>
              </a:ext>
            </a:extLst>
          </p:cNvPr>
          <p:cNvSpPr txBox="1"/>
          <p:nvPr/>
        </p:nvSpPr>
        <p:spPr>
          <a:xfrm>
            <a:off x="1105295" y="5066741"/>
            <a:ext cx="689084" cy="689084"/>
          </a:xfrm>
          <a:prstGeom prst="ellipse">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r>
              <a:rPr lang="en-US" sz="2800" b="1">
                <a:latin typeface="Arial" panose="020B0604020202020204" pitchFamily="34" charset="0"/>
                <a:cs typeface="Arial" panose="020B0604020202020204" pitchFamily="34" charset="0"/>
                <a:sym typeface="Calibri" panose="020F0502020204030204" pitchFamily="34" charset="0"/>
              </a:rPr>
              <a:t>3</a:t>
            </a:r>
          </a:p>
        </p:txBody>
      </p:sp>
      <p:sp>
        <p:nvSpPr>
          <p:cNvPr id="74" name="TextBox 73">
            <a:extLst>
              <a:ext uri="{FF2B5EF4-FFF2-40B4-BE49-F238E27FC236}">
                <a16:creationId xmlns:a16="http://schemas.microsoft.com/office/drawing/2014/main" id="{5534F332-C2D2-4FCA-BCF9-C83B6780EAF1}"/>
              </a:ext>
            </a:extLst>
          </p:cNvPr>
          <p:cNvSpPr txBox="1"/>
          <p:nvPr/>
        </p:nvSpPr>
        <p:spPr>
          <a:xfrm rot="13500000">
            <a:off x="958034" y="2312819"/>
            <a:ext cx="1008887" cy="1008887"/>
          </a:xfrm>
          <a:prstGeom prst="arc">
            <a:avLst/>
          </a:prstGeom>
          <a:noFill/>
          <a:ln w="2540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75" name="TextBox 74">
            <a:extLst>
              <a:ext uri="{FF2B5EF4-FFF2-40B4-BE49-F238E27FC236}">
                <a16:creationId xmlns:a16="http://schemas.microsoft.com/office/drawing/2014/main" id="{44A2DE13-B985-4380-98F2-2AC474F46D60}"/>
              </a:ext>
            </a:extLst>
          </p:cNvPr>
          <p:cNvSpPr txBox="1"/>
          <p:nvPr/>
        </p:nvSpPr>
        <p:spPr>
          <a:xfrm rot="13500000">
            <a:off x="958034" y="3609829"/>
            <a:ext cx="1008887" cy="1008887"/>
          </a:xfrm>
          <a:prstGeom prst="arc">
            <a:avLst/>
          </a:prstGeom>
          <a:noFill/>
          <a:ln w="2540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76" name="TextBox 75">
            <a:extLst>
              <a:ext uri="{FF2B5EF4-FFF2-40B4-BE49-F238E27FC236}">
                <a16:creationId xmlns:a16="http://schemas.microsoft.com/office/drawing/2014/main" id="{EEC283E2-BCD1-4368-97B8-BBEDC8AD12AA}"/>
              </a:ext>
            </a:extLst>
          </p:cNvPr>
          <p:cNvSpPr txBox="1"/>
          <p:nvPr/>
        </p:nvSpPr>
        <p:spPr>
          <a:xfrm rot="13500000">
            <a:off x="958034" y="4906840"/>
            <a:ext cx="1008887" cy="1008887"/>
          </a:xfrm>
          <a:prstGeom prst="arc">
            <a:avLst/>
          </a:prstGeom>
          <a:noFill/>
          <a:ln w="2540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79" name="Rectangle 78">
            <a:extLst>
              <a:ext uri="{FF2B5EF4-FFF2-40B4-BE49-F238E27FC236}">
                <a16:creationId xmlns:a16="http://schemas.microsoft.com/office/drawing/2014/main" id="{471A3722-4FBE-4D1C-9445-CDAECF4BE9D0}"/>
              </a:ext>
            </a:extLst>
          </p:cNvPr>
          <p:cNvSpPr/>
          <p:nvPr/>
        </p:nvSpPr>
        <p:spPr>
          <a:xfrm>
            <a:off x="2147494" y="2601818"/>
            <a:ext cx="6382552" cy="430887"/>
          </a:xfrm>
          <a:prstGeom prst="rect">
            <a:avLst/>
          </a:prstGeom>
        </p:spPr>
        <p:txBody>
          <a:bodyPr wrap="square" lIns="0" tIns="0" rIns="0" bIns="0" anchor="ctr">
            <a:spAutoFit/>
          </a:bodyPr>
          <a:lstStyle/>
          <a:p>
            <a:r>
              <a:rPr lang="en-US" sz="2800" b="0" i="0">
                <a:solidFill>
                  <a:srgbClr val="000000"/>
                </a:solidFill>
                <a:effectLst/>
                <a:latin typeface="Arial" panose="020B0604020202020204" pitchFamily="34" charset="0"/>
                <a:cs typeface="Arial" panose="020B0604020202020204" pitchFamily="34" charset="0"/>
              </a:rPr>
              <a:t>Xác định có u không và u cơ quan nào</a:t>
            </a:r>
            <a:endParaRPr lang="en-US" sz="2800">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8E7093F7-547A-4B06-9E04-6378C6F40B84}"/>
              </a:ext>
            </a:extLst>
          </p:cNvPr>
          <p:cNvSpPr/>
          <p:nvPr/>
        </p:nvSpPr>
        <p:spPr>
          <a:xfrm>
            <a:off x="2147494" y="3898830"/>
            <a:ext cx="6382552" cy="430887"/>
          </a:xfrm>
          <a:prstGeom prst="rect">
            <a:avLst/>
          </a:prstGeom>
        </p:spPr>
        <p:txBody>
          <a:bodyPr wrap="square" lIns="0" tIns="0" rIns="0" bIns="0" anchor="ctr">
            <a:spAutoFit/>
          </a:bodyPr>
          <a:lstStyle/>
          <a:p>
            <a:r>
              <a:rPr lang="en-US" sz="2800">
                <a:solidFill>
                  <a:srgbClr val="000000"/>
                </a:solidFill>
                <a:latin typeface="Arial" panose="020B0604020202020204" pitchFamily="34" charset="0"/>
                <a:cs typeface="Arial" panose="020B0604020202020204" pitchFamily="34" charset="0"/>
              </a:rPr>
              <a:t>Đánh giá xâm lấn, di căn</a:t>
            </a:r>
            <a:endParaRPr lang="en-US" sz="2800">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040352BE-9EA9-4928-9BB8-12A18C43B855}"/>
              </a:ext>
            </a:extLst>
          </p:cNvPr>
          <p:cNvSpPr/>
          <p:nvPr/>
        </p:nvSpPr>
        <p:spPr>
          <a:xfrm>
            <a:off x="2147494" y="5195840"/>
            <a:ext cx="6382552" cy="430887"/>
          </a:xfrm>
          <a:prstGeom prst="rect">
            <a:avLst/>
          </a:prstGeom>
        </p:spPr>
        <p:txBody>
          <a:bodyPr wrap="square" lIns="0" tIns="0" rIns="0" bIns="0" anchor="ctr">
            <a:spAutoFit/>
          </a:bodyPr>
          <a:lstStyle/>
          <a:p>
            <a:r>
              <a:rPr lang="en-US" sz="2800" b="0" i="0">
                <a:solidFill>
                  <a:srgbClr val="000000"/>
                </a:solidFill>
                <a:effectLst/>
                <a:latin typeface="Arial" panose="020B0604020202020204" pitchFamily="34" charset="0"/>
                <a:cs typeface="Arial" panose="020B0604020202020204" pitchFamily="34" charset="0"/>
              </a:rPr>
              <a:t>Xác định bản chất u</a:t>
            </a:r>
            <a:endParaRPr lang="en-US" sz="2800">
              <a:latin typeface="Arial" panose="020B0604020202020204" pitchFamily="34" charset="0"/>
              <a:cs typeface="Arial" panose="020B0604020202020204" pitchFamily="34" charset="0"/>
            </a:endParaRPr>
          </a:p>
        </p:txBody>
      </p:sp>
      <p:grpSp>
        <p:nvGrpSpPr>
          <p:cNvPr id="84" name="Group 83">
            <a:extLst>
              <a:ext uri="{FF2B5EF4-FFF2-40B4-BE49-F238E27FC236}">
                <a16:creationId xmlns:a16="http://schemas.microsoft.com/office/drawing/2014/main" id="{77A9DF55-6FC7-4D28-AA78-0E0A565BACE8}"/>
              </a:ext>
            </a:extLst>
          </p:cNvPr>
          <p:cNvGrpSpPr/>
          <p:nvPr/>
        </p:nvGrpSpPr>
        <p:grpSpPr>
          <a:xfrm flipH="1">
            <a:off x="7105709" y="256273"/>
            <a:ext cx="1065469" cy="767411"/>
            <a:chOff x="9631490" y="336605"/>
            <a:chExt cx="1065469" cy="767411"/>
          </a:xfrm>
        </p:grpSpPr>
        <p:sp>
          <p:nvSpPr>
            <p:cNvPr id="82" name="Freeform: Shape 81">
              <a:extLst>
                <a:ext uri="{FF2B5EF4-FFF2-40B4-BE49-F238E27FC236}">
                  <a16:creationId xmlns:a16="http://schemas.microsoft.com/office/drawing/2014/main" id="{C6B58C95-642B-4A6B-9665-BF2F065EA4F4}"/>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28849551-1E20-4DF5-A99D-68D4B87801C0}"/>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6666566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a:extLst>
              <a:ext uri="{FF2B5EF4-FFF2-40B4-BE49-F238E27FC236}">
                <a16:creationId xmlns:a16="http://schemas.microsoft.com/office/drawing/2014/main" id="{C37D7D94-A4F8-436E-A575-EF167AFBCF7C}"/>
              </a:ext>
            </a:extLst>
          </p:cNvPr>
          <p:cNvCxnSpPr>
            <a:cxnSpLocks/>
          </p:cNvCxnSpPr>
          <p:nvPr/>
        </p:nvCxnSpPr>
        <p:spPr>
          <a:xfrm flipV="1">
            <a:off x="5824403" y="6168027"/>
            <a:ext cx="4543026" cy="7974"/>
          </a:xfrm>
          <a:prstGeom prst="line">
            <a:avLst/>
          </a:prstGeom>
          <a:ln w="1270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533401" y="492718"/>
            <a:ext cx="8075021" cy="965827"/>
            <a:chOff x="533401" y="492718"/>
            <a:chExt cx="8075021" cy="96582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1" y="966102"/>
              <a:ext cx="8075021" cy="492443"/>
            </a:xfrm>
            <a:prstGeom prst="rect">
              <a:avLst/>
            </a:prstGeom>
            <a:noFill/>
          </p:spPr>
          <p:txBody>
            <a:bodyPr wrap="square" lIns="0" tIns="0" rIns="0" bIns="0" rtlCol="0" anchor="t">
              <a:spAutoFit/>
            </a:bodyPr>
            <a:lstStyle/>
            <a:p>
              <a:r>
                <a:rPr lang="es-ES" sz="3200" b="1">
                  <a:latin typeface="Arial" panose="020B0604020202020204" pitchFamily="34" charset="0"/>
                  <a:ea typeface="Segoe UI Black" panose="020B0A02040204020203" pitchFamily="34" charset="0"/>
                  <a:cs typeface="Arial" panose="020B0604020202020204" pitchFamily="34" charset="0"/>
                </a:rPr>
                <a:t>1. Có u hay không, u cơ quan nào?</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85" name="Group 184">
            <a:extLst>
              <a:ext uri="{FF2B5EF4-FFF2-40B4-BE49-F238E27FC236}">
                <a16:creationId xmlns:a16="http://schemas.microsoft.com/office/drawing/2014/main" id="{8ED9B3ED-7120-4603-8CCD-E00D81660B0D}"/>
              </a:ext>
            </a:extLst>
          </p:cNvPr>
          <p:cNvGrpSpPr/>
          <p:nvPr/>
        </p:nvGrpSpPr>
        <p:grpSpPr>
          <a:xfrm>
            <a:off x="9479066" y="1003513"/>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grpSp>
      <p:sp>
        <p:nvSpPr>
          <p:cNvPr id="2" name="Hộp Văn bản 1">
            <a:extLst>
              <a:ext uri="{FF2B5EF4-FFF2-40B4-BE49-F238E27FC236}">
                <a16:creationId xmlns:a16="http://schemas.microsoft.com/office/drawing/2014/main" id="{511BE542-45C3-ED1F-247C-ABA6C10188DC}"/>
              </a:ext>
            </a:extLst>
          </p:cNvPr>
          <p:cNvSpPr txBox="1"/>
          <p:nvPr/>
        </p:nvSpPr>
        <p:spPr>
          <a:xfrm>
            <a:off x="800368" y="1935002"/>
            <a:ext cx="3103975" cy="3416320"/>
          </a:xfrm>
          <a:prstGeom prst="rect">
            <a:avLst/>
          </a:prstGeom>
          <a:solidFill>
            <a:schemeClr val="bg1">
              <a:lumMod val="95000"/>
              <a:alpha val="50000"/>
            </a:schemeClr>
          </a:solidFill>
        </p:spPr>
        <p:txBody>
          <a:bodyPr wrap="square" rtlCol="0">
            <a:spAutoFit/>
          </a:bodyPr>
          <a:lstStyle/>
          <a:p>
            <a:r>
              <a:rPr lang="vi-VN" u="sng">
                <a:latin typeface="Arial" panose="020B0604020202020204" pitchFamily="34" charset="0"/>
                <a:cs typeface="Arial" panose="020B0604020202020204" pitchFamily="34" charset="0"/>
              </a:rPr>
              <a:t>Siêu âm bụng</a:t>
            </a:r>
          </a:p>
          <a:p>
            <a:pPr marL="285750" indent="-285750">
              <a:buFontTx/>
              <a:buChar char="-"/>
            </a:pPr>
            <a:r>
              <a:rPr lang="vi-VN">
                <a:latin typeface="Arial" panose="020B0604020202020204" pitchFamily="34" charset="0"/>
                <a:cs typeface="Arial" panose="020B0604020202020204" pitchFamily="34" charset="0"/>
              </a:rPr>
              <a:t>Độ nhạy khoảng 25% phát hiện u quanh bóng Vater</a:t>
            </a:r>
            <a:r>
              <a:rPr lang="en-US">
                <a:latin typeface="Arial" panose="020B0604020202020204" pitchFamily="34" charset="0"/>
                <a:cs typeface="Arial" panose="020B0604020202020204" pitchFamily="34" charset="0"/>
              </a:rPr>
              <a:t> [1]</a:t>
            </a:r>
          </a:p>
          <a:p>
            <a:pPr marL="285750" indent="-285750">
              <a:buFontTx/>
              <a:buChar char="-"/>
            </a:pPr>
            <a:r>
              <a:rPr lang="en-US" err="1">
                <a:latin typeface="Arial" panose="020B0604020202020204" pitchFamily="34" charset="0"/>
                <a:cs typeface="Arial" panose="020B0604020202020204" pitchFamily="34" charset="0"/>
              </a:rPr>
              <a:t>Độ</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nhạy</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ao</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hơn</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với</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ác</a:t>
            </a:r>
            <a:r>
              <a:rPr lang="en-US">
                <a:latin typeface="Arial" panose="020B0604020202020204" pitchFamily="34" charset="0"/>
                <a:cs typeface="Arial" panose="020B0604020202020204" pitchFamily="34" charset="0"/>
              </a:rPr>
              <a:t> u </a:t>
            </a:r>
            <a:r>
              <a:rPr lang="en-US" err="1">
                <a:latin typeface="Arial" panose="020B0604020202020204" pitchFamily="34" charset="0"/>
                <a:cs typeface="Arial" panose="020B0604020202020204" pitchFamily="34" charset="0"/>
              </a:rPr>
              <a:t>lớn</a:t>
            </a:r>
            <a:r>
              <a:rPr lang="en-US">
                <a:latin typeface="Arial" panose="020B0604020202020204" pitchFamily="34" charset="0"/>
                <a:cs typeface="Arial" panose="020B0604020202020204" pitchFamily="34" charset="0"/>
              </a:rPr>
              <a:t> (&gt; 3cm) [2] </a:t>
            </a:r>
          </a:p>
          <a:p>
            <a:pPr marL="285750" indent="-285750">
              <a:buFontTx/>
              <a:buChar char="-"/>
            </a:pPr>
            <a:r>
              <a:rPr lang="en-US">
                <a:latin typeface="Arial" panose="020B0604020202020204" pitchFamily="34" charset="0"/>
                <a:cs typeface="Arial" panose="020B0604020202020204" pitchFamily="34" charset="0"/>
              </a:rPr>
              <a:t>Có thể thấy dấu hiệu gián tiếp: dãn đường mật</a:t>
            </a:r>
            <a:endParaRPr lang="vi-VN">
              <a:latin typeface="Arial" panose="020B0604020202020204" pitchFamily="34" charset="0"/>
              <a:cs typeface="Arial" panose="020B0604020202020204" pitchFamily="34" charset="0"/>
            </a:endParaRPr>
          </a:p>
          <a:p>
            <a:pPr marL="285750" indent="-285750">
              <a:buFontTx/>
              <a:buChar char="-"/>
            </a:pPr>
            <a:r>
              <a:rPr lang="en-US">
                <a:latin typeface="Arial" panose="020B0604020202020204" pitchFamily="34" charset="0"/>
                <a:cs typeface="Arial" panose="020B0604020202020204" pitchFamily="34" charset="0"/>
              </a:rPr>
              <a:t>Dùng </a:t>
            </a:r>
            <a:r>
              <a:rPr lang="en-US" err="1">
                <a:latin typeface="Arial" panose="020B0604020202020204" pitchFamily="34" charset="0"/>
                <a:cs typeface="Arial" panose="020B0604020202020204" pitchFamily="34" charset="0"/>
              </a:rPr>
              <a:t>đầu</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ay</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ho</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ác</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rường</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hợp</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ó</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vàng</a:t>
            </a:r>
            <a:r>
              <a:rPr lang="en-US">
                <a:latin typeface="Arial" panose="020B0604020202020204" pitchFamily="34" charset="0"/>
                <a:cs typeface="Arial" panose="020B0604020202020204" pitchFamily="34" charset="0"/>
              </a:rPr>
              <a:t> da [2]</a:t>
            </a:r>
          </a:p>
          <a:p>
            <a:endParaRPr lang="vi-VN">
              <a:latin typeface="Arial" panose="020B0604020202020204" pitchFamily="34" charset="0"/>
              <a:cs typeface="Arial" panose="020B0604020202020204" pitchFamily="34" charset="0"/>
            </a:endParaRPr>
          </a:p>
        </p:txBody>
      </p:sp>
      <p:sp>
        <p:nvSpPr>
          <p:cNvPr id="3" name="Hộp Văn bản 2">
            <a:extLst>
              <a:ext uri="{FF2B5EF4-FFF2-40B4-BE49-F238E27FC236}">
                <a16:creationId xmlns:a16="http://schemas.microsoft.com/office/drawing/2014/main" id="{79896686-6D10-CBCA-309A-EA81848096E9}"/>
              </a:ext>
            </a:extLst>
          </p:cNvPr>
          <p:cNvSpPr txBox="1"/>
          <p:nvPr/>
        </p:nvSpPr>
        <p:spPr>
          <a:xfrm>
            <a:off x="533401" y="6057575"/>
            <a:ext cx="9601166" cy="400110"/>
          </a:xfrm>
          <a:prstGeom prst="rect">
            <a:avLst/>
          </a:prstGeom>
          <a:noFill/>
        </p:spPr>
        <p:txBody>
          <a:bodyPr wrap="square">
            <a:spAutoFit/>
          </a:bodyPr>
          <a:lstStyle/>
          <a:p>
            <a:r>
              <a:rPr lang="vi-VN" sz="1000" b="0" i="0">
                <a:effectLst/>
                <a:latin typeface="Arial" panose="020B0604020202020204" pitchFamily="34" charset="0"/>
                <a:cs typeface="Arial" panose="020B0604020202020204" pitchFamily="34" charset="0"/>
              </a:rPr>
              <a:t>[1] </a:t>
            </a:r>
            <a:r>
              <a:rPr lang="en-US" sz="1000">
                <a:latin typeface="Arial" panose="020B0604020202020204" pitchFamily="34" charset="0"/>
                <a:cs typeface="Arial" panose="020B0604020202020204" pitchFamily="34" charset="0"/>
              </a:rPr>
              <a:t>Phan Minh Trí. Ung thư quanh bóng vater. Bệnh học Ngoại khoa Tiêu hóa. 2021</a:t>
            </a:r>
            <a:endParaRPr lang="en-US" sz="1000" b="0" i="0">
              <a:effectLst/>
              <a:latin typeface="Arial" panose="020B0604020202020204" pitchFamily="34" charset="0"/>
              <a:cs typeface="Arial" panose="020B0604020202020204" pitchFamily="34" charset="0"/>
            </a:endParaRPr>
          </a:p>
          <a:p>
            <a:r>
              <a:rPr lang="en-US" sz="1000">
                <a:latin typeface="Arial" panose="020B0604020202020204" pitchFamily="34" charset="0"/>
                <a:cs typeface="Arial" panose="020B0604020202020204" pitchFamily="34" charset="0"/>
              </a:rPr>
              <a:t>[2] Carlos Castillo. Clinical manifestations, diagnosis, and staging of exocrine pancreatic cancer. Uptodate 2022.</a:t>
            </a:r>
          </a:p>
        </p:txBody>
      </p:sp>
      <p:cxnSp>
        <p:nvCxnSpPr>
          <p:cNvPr id="5" name="Đường nối Thẳng 4">
            <a:extLst>
              <a:ext uri="{FF2B5EF4-FFF2-40B4-BE49-F238E27FC236}">
                <a16:creationId xmlns:a16="http://schemas.microsoft.com/office/drawing/2014/main" id="{256AFCB4-7AAE-3B49-8EE8-404C4D1ADBE9}"/>
              </a:ext>
            </a:extLst>
          </p:cNvPr>
          <p:cNvCxnSpPr/>
          <p:nvPr/>
        </p:nvCxnSpPr>
        <p:spPr>
          <a:xfrm>
            <a:off x="571778" y="1606731"/>
            <a:ext cx="0" cy="3631475"/>
          </a:xfrm>
          <a:prstGeom prst="line">
            <a:avLst/>
          </a:prstGeom>
        </p:spPr>
        <p:style>
          <a:lnRef idx="2">
            <a:schemeClr val="accent4"/>
          </a:lnRef>
          <a:fillRef idx="0">
            <a:schemeClr val="accent4"/>
          </a:fillRef>
          <a:effectRef idx="1">
            <a:schemeClr val="accent4"/>
          </a:effectRef>
          <a:fontRef idx="minor">
            <a:schemeClr val="tx1"/>
          </a:fontRef>
        </p:style>
      </p:cxnSp>
      <p:sp>
        <p:nvSpPr>
          <p:cNvPr id="6" name="TextBox 116">
            <a:extLst>
              <a:ext uri="{FF2B5EF4-FFF2-40B4-BE49-F238E27FC236}">
                <a16:creationId xmlns:a16="http://schemas.microsoft.com/office/drawing/2014/main" id="{98285D80-534E-8E64-D366-C1AF39558F24}"/>
              </a:ext>
            </a:extLst>
          </p:cNvPr>
          <p:cNvSpPr txBox="1"/>
          <p:nvPr/>
        </p:nvSpPr>
        <p:spPr>
          <a:xfrm>
            <a:off x="432439" y="1999237"/>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pic>
        <p:nvPicPr>
          <p:cNvPr id="2052" name="Picture 4" descr="1">
            <a:extLst>
              <a:ext uri="{FF2B5EF4-FFF2-40B4-BE49-F238E27FC236}">
                <a16:creationId xmlns:a16="http://schemas.microsoft.com/office/drawing/2014/main" id="{3FB03A34-81C4-5368-DA40-C88FEF463A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8786" y="1777401"/>
            <a:ext cx="3264099" cy="244807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3">
            <a:extLst>
              <a:ext uri="{FF2B5EF4-FFF2-40B4-BE49-F238E27FC236}">
                <a16:creationId xmlns:a16="http://schemas.microsoft.com/office/drawing/2014/main" id="{DBCEF81B-593F-40EA-C1EC-7FA5BFE0D1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15220" y="1782735"/>
            <a:ext cx="3276412" cy="2442740"/>
          </a:xfrm>
          <a:prstGeom prst="rect">
            <a:avLst/>
          </a:prstGeom>
          <a:noFill/>
          <a:extLst>
            <a:ext uri="{909E8E84-426E-40DD-AFC4-6F175D3DCCD1}">
              <a14:hiddenFill xmlns:a14="http://schemas.microsoft.com/office/drawing/2010/main">
                <a:solidFill>
                  <a:srgbClr val="FFFFFF"/>
                </a:solidFill>
              </a14:hiddenFill>
            </a:ext>
          </a:extLst>
        </p:spPr>
      </p:pic>
      <p:sp>
        <p:nvSpPr>
          <p:cNvPr id="9" name="Hộp Văn bản 8">
            <a:extLst>
              <a:ext uri="{FF2B5EF4-FFF2-40B4-BE49-F238E27FC236}">
                <a16:creationId xmlns:a16="http://schemas.microsoft.com/office/drawing/2014/main" id="{0E18B173-4F84-7214-2E58-3CD242E5F727}"/>
              </a:ext>
            </a:extLst>
          </p:cNvPr>
          <p:cNvSpPr txBox="1"/>
          <p:nvPr/>
        </p:nvSpPr>
        <p:spPr>
          <a:xfrm>
            <a:off x="5784541" y="4404166"/>
            <a:ext cx="6098240" cy="246221"/>
          </a:xfrm>
          <a:prstGeom prst="rect">
            <a:avLst/>
          </a:prstGeom>
          <a:noFill/>
        </p:spPr>
        <p:txBody>
          <a:bodyPr wrap="square">
            <a:spAutoFit/>
          </a:bodyPr>
          <a:lstStyle/>
          <a:p>
            <a:r>
              <a:rPr lang="vi-VN" sz="1000"/>
              <a:t>www.ultrasoundcases.info</a:t>
            </a:r>
          </a:p>
        </p:txBody>
      </p:sp>
    </p:spTree>
    <p:extLst>
      <p:ext uri="{BB962C8B-B14F-4D97-AF65-F5344CB8AC3E}">
        <p14:creationId xmlns:p14="http://schemas.microsoft.com/office/powerpoint/2010/main" val="2936666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a:extLst>
              <a:ext uri="{FF2B5EF4-FFF2-40B4-BE49-F238E27FC236}">
                <a16:creationId xmlns:a16="http://schemas.microsoft.com/office/drawing/2014/main" id="{C37D7D94-A4F8-436E-A575-EF167AFBCF7C}"/>
              </a:ext>
            </a:extLst>
          </p:cNvPr>
          <p:cNvCxnSpPr>
            <a:cxnSpLocks/>
          </p:cNvCxnSpPr>
          <p:nvPr/>
        </p:nvCxnSpPr>
        <p:spPr>
          <a:xfrm flipV="1">
            <a:off x="5824403" y="6168027"/>
            <a:ext cx="4543026" cy="7974"/>
          </a:xfrm>
          <a:prstGeom prst="line">
            <a:avLst/>
          </a:prstGeom>
          <a:ln w="1270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533401" y="492718"/>
            <a:ext cx="8075021" cy="965827"/>
            <a:chOff x="533401" y="492718"/>
            <a:chExt cx="8075021" cy="96582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1" y="966102"/>
              <a:ext cx="8075021" cy="492443"/>
            </a:xfrm>
            <a:prstGeom prst="rect">
              <a:avLst/>
            </a:prstGeom>
            <a:noFill/>
          </p:spPr>
          <p:txBody>
            <a:bodyPr wrap="square" lIns="0" tIns="0" rIns="0" bIns="0" rtlCol="0" anchor="t">
              <a:spAutoFit/>
            </a:bodyPr>
            <a:lstStyle/>
            <a:p>
              <a:r>
                <a:rPr lang="es-ES" sz="3200" b="1">
                  <a:latin typeface="Arial" panose="020B0604020202020204" pitchFamily="34" charset="0"/>
                  <a:ea typeface="Segoe UI Black" panose="020B0A02040204020203" pitchFamily="34" charset="0"/>
                  <a:cs typeface="Arial" panose="020B0604020202020204" pitchFamily="34" charset="0"/>
                </a:rPr>
                <a:t>1. Có u hay không, u cơ quan nào?</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85" name="Group 184">
            <a:extLst>
              <a:ext uri="{FF2B5EF4-FFF2-40B4-BE49-F238E27FC236}">
                <a16:creationId xmlns:a16="http://schemas.microsoft.com/office/drawing/2014/main" id="{8ED9B3ED-7120-4603-8CCD-E00D81660B0D}"/>
              </a:ext>
            </a:extLst>
          </p:cNvPr>
          <p:cNvGrpSpPr/>
          <p:nvPr/>
        </p:nvGrpSpPr>
        <p:grpSpPr>
          <a:xfrm>
            <a:off x="9479066" y="1003513"/>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grpSp>
      <p:sp>
        <p:nvSpPr>
          <p:cNvPr id="2" name="Hộp Văn bản 1">
            <a:extLst>
              <a:ext uri="{FF2B5EF4-FFF2-40B4-BE49-F238E27FC236}">
                <a16:creationId xmlns:a16="http://schemas.microsoft.com/office/drawing/2014/main" id="{511BE542-45C3-ED1F-247C-ABA6C10188DC}"/>
              </a:ext>
            </a:extLst>
          </p:cNvPr>
          <p:cNvSpPr txBox="1"/>
          <p:nvPr/>
        </p:nvSpPr>
        <p:spPr>
          <a:xfrm>
            <a:off x="1547720" y="1837916"/>
            <a:ext cx="7282787" cy="3901837"/>
          </a:xfrm>
          <a:prstGeom prst="rect">
            <a:avLst/>
          </a:prstGeom>
          <a:solidFill>
            <a:schemeClr val="bg1">
              <a:lumMod val="95000"/>
              <a:alpha val="50000"/>
            </a:schemeClr>
          </a:solidFill>
        </p:spPr>
        <p:txBody>
          <a:bodyPr wrap="square" rtlCol="0">
            <a:spAutoFit/>
          </a:bodyPr>
          <a:lstStyle/>
          <a:p>
            <a:pPr>
              <a:lnSpc>
                <a:spcPct val="150000"/>
              </a:lnSpc>
            </a:pPr>
            <a:r>
              <a:rPr lang="vi-VN" sz="2400" u="sng">
                <a:latin typeface="Arial" panose="020B0604020202020204" pitchFamily="34" charset="0"/>
                <a:cs typeface="Arial" panose="020B0604020202020204" pitchFamily="34" charset="0"/>
              </a:rPr>
              <a:t>CT scan bụng</a:t>
            </a:r>
          </a:p>
          <a:p>
            <a:pPr marL="285750" indent="-285750">
              <a:lnSpc>
                <a:spcPct val="150000"/>
              </a:lnSpc>
              <a:buFontTx/>
              <a:buChar char="-"/>
            </a:pPr>
            <a:r>
              <a:rPr lang="en-US" sz="2400" err="1">
                <a:latin typeface="Arial" panose="020B0604020202020204" pitchFamily="34" charset="0"/>
                <a:cs typeface="Arial" panose="020B0604020202020204" pitchFamily="34" charset="0"/>
              </a:rPr>
              <a:t>Trực</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tiếp</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phát</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hiện</a:t>
            </a:r>
            <a:r>
              <a:rPr lang="en-US" sz="2400">
                <a:latin typeface="Arial" panose="020B0604020202020204" pitchFamily="34" charset="0"/>
                <a:cs typeface="Arial" panose="020B0604020202020204" pitchFamily="34" charset="0"/>
              </a:rPr>
              <a:t> u </a:t>
            </a:r>
            <a:r>
              <a:rPr lang="en-US" sz="2400" err="1">
                <a:latin typeface="Arial" panose="020B0604020202020204" pitchFamily="34" charset="0"/>
                <a:cs typeface="Arial" panose="020B0604020202020204" pitchFamily="34" charset="0"/>
              </a:rPr>
              <a:t>quanh</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bóng</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vater</a:t>
            </a:r>
            <a:endParaRPr lang="en-US" sz="2400">
              <a:latin typeface="Arial" panose="020B0604020202020204" pitchFamily="34" charset="0"/>
              <a:cs typeface="Arial" panose="020B0604020202020204" pitchFamily="34" charset="0"/>
            </a:endParaRPr>
          </a:p>
          <a:p>
            <a:pPr marL="285750" indent="-285750">
              <a:lnSpc>
                <a:spcPct val="150000"/>
              </a:lnSpc>
              <a:buFontTx/>
              <a:buChar char="-"/>
            </a:pPr>
            <a:r>
              <a:rPr lang="en-US" sz="2400">
                <a:latin typeface="Arial" panose="020B0604020202020204" pitchFamily="34" charset="0"/>
                <a:cs typeface="Arial" panose="020B0604020202020204" pitchFamily="34" charset="0"/>
              </a:rPr>
              <a:t>Có thể </a:t>
            </a:r>
            <a:r>
              <a:rPr lang="en-US" sz="2400" err="1">
                <a:latin typeface="Arial" panose="020B0604020202020204" pitchFamily="34" charset="0"/>
                <a:cs typeface="Arial" panose="020B0604020202020204" pitchFamily="34" charset="0"/>
              </a:rPr>
              <a:t>sử</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dụng</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đầu</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tay</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khi</a:t>
            </a:r>
            <a:r>
              <a:rPr lang="en-US" sz="2400">
                <a:latin typeface="Arial" panose="020B0604020202020204" pitchFamily="34" charset="0"/>
                <a:cs typeface="Arial" panose="020B0604020202020204" pitchFamily="34" charset="0"/>
              </a:rPr>
              <a:t>: đau </a:t>
            </a:r>
            <a:r>
              <a:rPr lang="en-US" sz="2400" err="1">
                <a:latin typeface="Arial" panose="020B0604020202020204" pitchFamily="34" charset="0"/>
                <a:cs typeface="Arial" panose="020B0604020202020204" pitchFamily="34" charset="0"/>
              </a:rPr>
              <a:t>thượng</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vị</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sụt</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cân</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không</a:t>
            </a:r>
            <a:r>
              <a:rPr lang="en-US" sz="2400">
                <a:latin typeface="Arial" panose="020B0604020202020204" pitchFamily="34" charset="0"/>
                <a:cs typeface="Arial" panose="020B0604020202020204" pitchFamily="34" charset="0"/>
              </a:rPr>
              <a:t> </a:t>
            </a:r>
            <a:r>
              <a:rPr lang="en-US" sz="2400" err="1">
                <a:latin typeface="Arial" panose="020B0604020202020204" pitchFamily="34" charset="0"/>
                <a:cs typeface="Arial" panose="020B0604020202020204" pitchFamily="34" charset="0"/>
              </a:rPr>
              <a:t>vàng</a:t>
            </a:r>
            <a:r>
              <a:rPr lang="en-US" sz="2400">
                <a:latin typeface="Arial" panose="020B0604020202020204" pitchFamily="34" charset="0"/>
                <a:cs typeface="Arial" panose="020B0604020202020204" pitchFamily="34" charset="0"/>
              </a:rPr>
              <a:t> da [1]</a:t>
            </a:r>
          </a:p>
          <a:p>
            <a:pPr marL="285750" indent="-285750">
              <a:lnSpc>
                <a:spcPct val="150000"/>
              </a:lnSpc>
              <a:buFontTx/>
              <a:buChar char="-"/>
            </a:pPr>
            <a:r>
              <a:rPr lang="vi-VN" sz="2400">
                <a:latin typeface="Arial" panose="020B0604020202020204" pitchFamily="34" charset="0"/>
                <a:cs typeface="Arial" panose="020B0604020202020204" pitchFamily="34" charset="0"/>
              </a:rPr>
              <a:t>Trong u tụy: Độ nhạy 98%: u ≥ 2 cm, 68-77%: u&lt;2cm [2] </a:t>
            </a:r>
          </a:p>
          <a:p>
            <a:pPr marL="285750" indent="-285750">
              <a:lnSpc>
                <a:spcPct val="150000"/>
              </a:lnSpc>
              <a:buFontTx/>
              <a:buChar char="-"/>
            </a:pPr>
            <a:r>
              <a:rPr lang="vi-VN" sz="2400">
                <a:latin typeface="Arial" panose="020B0604020202020204" pitchFamily="34" charset="0"/>
                <a:cs typeface="Arial" panose="020B0604020202020204" pitchFamily="34" charset="0"/>
              </a:rPr>
              <a:t>CT protocol tụy được khuyến cáo</a:t>
            </a:r>
          </a:p>
        </p:txBody>
      </p:sp>
      <p:sp>
        <p:nvSpPr>
          <p:cNvPr id="3" name="Hộp Văn bản 2">
            <a:extLst>
              <a:ext uri="{FF2B5EF4-FFF2-40B4-BE49-F238E27FC236}">
                <a16:creationId xmlns:a16="http://schemas.microsoft.com/office/drawing/2014/main" id="{79896686-6D10-CBCA-309A-EA81848096E9}"/>
              </a:ext>
            </a:extLst>
          </p:cNvPr>
          <p:cNvSpPr txBox="1"/>
          <p:nvPr/>
        </p:nvSpPr>
        <p:spPr>
          <a:xfrm>
            <a:off x="533401" y="6057575"/>
            <a:ext cx="9601166" cy="553998"/>
          </a:xfrm>
          <a:prstGeom prst="rect">
            <a:avLst/>
          </a:prstGeom>
          <a:noFill/>
        </p:spPr>
        <p:txBody>
          <a:bodyPr wrap="square">
            <a:spAutoFit/>
          </a:bodyPr>
          <a:lstStyle/>
          <a:p>
            <a:r>
              <a:rPr lang="vi-VN" sz="1000" b="0" i="0">
                <a:effectLst/>
                <a:latin typeface="Arial" panose="020B0604020202020204" pitchFamily="34" charset="0"/>
                <a:cs typeface="Arial" panose="020B0604020202020204" pitchFamily="34" charset="0"/>
              </a:rPr>
              <a:t>[</a:t>
            </a:r>
            <a:r>
              <a:rPr lang="en-US" sz="1000">
                <a:latin typeface="Arial" panose="020B0604020202020204" pitchFamily="34" charset="0"/>
                <a:cs typeface="Arial" panose="020B0604020202020204" pitchFamily="34" charset="0"/>
              </a:rPr>
              <a:t>1] Carlos Castillo. Clinical manifestations, diagnosis, and staging of exocrine pancreatic cancer. Uptodate 2022.</a:t>
            </a:r>
          </a:p>
          <a:p>
            <a:r>
              <a:rPr lang="en-US" sz="1000">
                <a:latin typeface="Arial" panose="020B0604020202020204" pitchFamily="34" charset="0"/>
                <a:cs typeface="Arial" panose="020B0604020202020204" pitchFamily="34" charset="0"/>
              </a:rPr>
              <a:t>[2] </a:t>
            </a:r>
            <a:r>
              <a:rPr lang="vi-VN" sz="1000" b="0" i="0">
                <a:effectLst/>
                <a:latin typeface="Arial" panose="020B0604020202020204" pitchFamily="34" charset="0"/>
                <a:cs typeface="Arial" panose="020B0604020202020204" pitchFamily="34" charset="0"/>
              </a:rPr>
              <a:t>Shrikhande SV, Barreto SG, Goel M, Arya S. Multimodality imaging of pancreatic ductal adenocarcinoma: a review of the literature. HPB (Oxford). 2012 Oct;14(10):658-68</a:t>
            </a:r>
            <a:r>
              <a:rPr lang="en-US" sz="1000" b="0" i="0">
                <a:effectLst/>
                <a:latin typeface="Arial" panose="020B0604020202020204" pitchFamily="34" charset="0"/>
                <a:cs typeface="Arial" panose="020B0604020202020204" pitchFamily="34" charset="0"/>
              </a:rPr>
              <a:t>.</a:t>
            </a:r>
            <a:endParaRPr lang="vi-VN" sz="1000">
              <a:latin typeface="Arial" panose="020B0604020202020204" pitchFamily="34" charset="0"/>
              <a:cs typeface="Arial" panose="020B0604020202020204" pitchFamily="34" charset="0"/>
            </a:endParaRPr>
          </a:p>
        </p:txBody>
      </p:sp>
      <p:cxnSp>
        <p:nvCxnSpPr>
          <p:cNvPr id="5" name="Đường nối Thẳng 4">
            <a:extLst>
              <a:ext uri="{FF2B5EF4-FFF2-40B4-BE49-F238E27FC236}">
                <a16:creationId xmlns:a16="http://schemas.microsoft.com/office/drawing/2014/main" id="{256AFCB4-7AAE-3B49-8EE8-404C4D1ADBE9}"/>
              </a:ext>
            </a:extLst>
          </p:cNvPr>
          <p:cNvCxnSpPr/>
          <p:nvPr/>
        </p:nvCxnSpPr>
        <p:spPr>
          <a:xfrm>
            <a:off x="1293223" y="1606731"/>
            <a:ext cx="0" cy="3631475"/>
          </a:xfrm>
          <a:prstGeom prst="line">
            <a:avLst/>
          </a:prstGeom>
        </p:spPr>
        <p:style>
          <a:lnRef idx="2">
            <a:schemeClr val="accent4"/>
          </a:lnRef>
          <a:fillRef idx="0">
            <a:schemeClr val="accent4"/>
          </a:fillRef>
          <a:effectRef idx="1">
            <a:schemeClr val="accent4"/>
          </a:effectRef>
          <a:fontRef idx="minor">
            <a:schemeClr val="tx1"/>
          </a:fontRef>
        </p:style>
      </p:cxnSp>
      <p:sp>
        <p:nvSpPr>
          <p:cNvPr id="6" name="TextBox 116">
            <a:extLst>
              <a:ext uri="{FF2B5EF4-FFF2-40B4-BE49-F238E27FC236}">
                <a16:creationId xmlns:a16="http://schemas.microsoft.com/office/drawing/2014/main" id="{98285D80-534E-8E64-D366-C1AF39558F24}"/>
              </a:ext>
            </a:extLst>
          </p:cNvPr>
          <p:cNvSpPr txBox="1"/>
          <p:nvPr/>
        </p:nvSpPr>
        <p:spPr>
          <a:xfrm>
            <a:off x="1153884" y="1999237"/>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Tree>
    <p:extLst>
      <p:ext uri="{BB962C8B-B14F-4D97-AF65-F5344CB8AC3E}">
        <p14:creationId xmlns:p14="http://schemas.microsoft.com/office/powerpoint/2010/main" val="2460558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2" name="Hộp Văn bản 1">
            <a:extLst>
              <a:ext uri="{FF2B5EF4-FFF2-40B4-BE49-F238E27FC236}">
                <a16:creationId xmlns:a16="http://schemas.microsoft.com/office/drawing/2014/main" id="{45BE9921-35AA-4150-BFB4-D62331CEB36D}"/>
              </a:ext>
            </a:extLst>
          </p:cNvPr>
          <p:cNvSpPr txBox="1"/>
          <p:nvPr/>
        </p:nvSpPr>
        <p:spPr>
          <a:xfrm>
            <a:off x="1124044" y="1957984"/>
            <a:ext cx="8398933" cy="5632311"/>
          </a:xfrm>
          <a:prstGeom prst="rect">
            <a:avLst/>
          </a:prstGeom>
          <a:noFill/>
        </p:spPr>
        <p:txBody>
          <a:bodyPr wrap="square" rtlCol="0">
            <a:spAutoFit/>
          </a:bodyPr>
          <a:lstStyle/>
          <a:p>
            <a:r>
              <a:rPr lang="vi-VN" sz="2400" u="sng">
                <a:latin typeface="Arial" panose="020B0604020202020204" pitchFamily="34" charset="0"/>
                <a:cs typeface="Arial" panose="020B0604020202020204" pitchFamily="34" charset="0"/>
              </a:rPr>
              <a:t>CT scan bụng:</a:t>
            </a:r>
          </a:p>
          <a:p>
            <a:endParaRPr lang="vi-VN" sz="2400">
              <a:latin typeface="Arial" panose="020B0604020202020204" pitchFamily="34" charset="0"/>
              <a:cs typeface="Arial" panose="020B0604020202020204" pitchFamily="34" charset="0"/>
            </a:endParaRPr>
          </a:p>
          <a:p>
            <a:pPr lvl="1"/>
            <a:r>
              <a:rPr lang="vi-VN" sz="2400">
                <a:latin typeface="Arial" panose="020B0604020202020204" pitchFamily="34" charset="0"/>
                <a:cs typeface="Arial" panose="020B0604020202020204" pitchFamily="34" charset="0"/>
              </a:rPr>
              <a:t>Ung thư đầu tụy: </a:t>
            </a:r>
          </a:p>
          <a:p>
            <a:pPr lvl="1"/>
            <a:r>
              <a:rPr lang="vi-VN" sz="2400">
                <a:latin typeface="Arial" panose="020B0604020202020204" pitchFamily="34" charset="0"/>
                <a:cs typeface="Arial" panose="020B0604020202020204" pitchFamily="34" charset="0"/>
              </a:rPr>
              <a:t>	Phim không thuốc: đậm độ ngang với nhu mô tụy </a:t>
            </a:r>
          </a:p>
          <a:p>
            <a:pPr lvl="1"/>
            <a:r>
              <a:rPr lang="vi-VN" sz="2400">
                <a:latin typeface="Arial" panose="020B0604020202020204" pitchFamily="34" charset="0"/>
                <a:cs typeface="Arial" panose="020B0604020202020204" pitchFamily="34" charset="0"/>
              </a:rPr>
              <a:t>	Phim có thuốc: </a:t>
            </a:r>
            <a:endParaRPr lang="en-US" sz="2400">
              <a:latin typeface="Arial" panose="020B0604020202020204" pitchFamily="34" charset="0"/>
              <a:cs typeface="Arial" panose="020B0604020202020204" pitchFamily="34" charset="0"/>
            </a:endParaRPr>
          </a:p>
          <a:p>
            <a:pPr marL="742950" lvl="1" indent="-285750">
              <a:buFontTx/>
              <a:buChar char="-"/>
            </a:pPr>
            <a:r>
              <a:rPr lang="en-US" sz="2400">
                <a:latin typeface="Arial" panose="020B0604020202020204" pitchFamily="34" charset="0"/>
                <a:cs typeface="Arial" panose="020B0604020202020204" pitchFamily="34" charset="0"/>
              </a:rPr>
              <a:t>D</a:t>
            </a:r>
            <a:r>
              <a:rPr lang="vi-VN" sz="2400">
                <a:latin typeface="Arial" panose="020B0604020202020204" pitchFamily="34" charset="0"/>
                <a:cs typeface="Arial" panose="020B0604020202020204" pitchFamily="34" charset="0"/>
              </a:rPr>
              <a:t>ạng khối, không đồng nhất</a:t>
            </a:r>
            <a:endParaRPr lang="en-US" sz="2400">
              <a:latin typeface="Arial" panose="020B0604020202020204" pitchFamily="34" charset="0"/>
              <a:cs typeface="Arial" panose="020B0604020202020204" pitchFamily="34" charset="0"/>
            </a:endParaRPr>
          </a:p>
          <a:p>
            <a:pPr marL="742950" lvl="1" indent="-285750">
              <a:buFontTx/>
              <a:buChar char="-"/>
            </a:pPr>
            <a:r>
              <a:rPr lang="en-US" sz="2400">
                <a:latin typeface="Arial" panose="020B0604020202020204" pitchFamily="34" charset="0"/>
                <a:cs typeface="Arial" panose="020B0604020202020204" pitchFamily="34" charset="0"/>
              </a:rPr>
              <a:t>G</a:t>
            </a:r>
            <a:r>
              <a:rPr lang="vi-VN" sz="2400">
                <a:latin typeface="Arial" panose="020B0604020202020204" pitchFamily="34" charset="0"/>
                <a:cs typeface="Arial" panose="020B0604020202020204" pitchFamily="34" charset="0"/>
              </a:rPr>
              <a:t>iảm đậm độ mô u trên phim phase tụy </a:t>
            </a:r>
          </a:p>
          <a:p>
            <a:pPr lvl="1"/>
            <a:r>
              <a:rPr lang="vi-VN" sz="2400">
                <a:latin typeface="Arial" panose="020B0604020202020204" pitchFamily="34" charset="0"/>
                <a:cs typeface="Arial" panose="020B0604020202020204" pitchFamily="34" charset="0"/>
              </a:rPr>
              <a:t>	Và hình ảnh thứ phát dãn ống tụy và ống mật chủ. </a:t>
            </a:r>
            <a:br>
              <a:rPr lang="vi-VN" sz="2400">
                <a:latin typeface="Arial" panose="020B0604020202020204" pitchFamily="34" charset="0"/>
                <a:cs typeface="Arial" panose="020B0604020202020204" pitchFamily="34" charset="0"/>
              </a:rPr>
            </a:br>
            <a:r>
              <a:rPr lang="vi-VN" sz="2400">
                <a:latin typeface="Arial" panose="020B0604020202020204" pitchFamily="34" charset="0"/>
                <a:cs typeface="Arial" panose="020B0604020202020204" pitchFamily="34" charset="0"/>
              </a:rPr>
              <a:t>	Giúp phân biệt tổn thương tân sinh dạng nang và u thần kinh nội tiết khác ở tụy (SCNs, MCNs, IPMNs, insulinoma).</a:t>
            </a:r>
          </a:p>
          <a:p>
            <a:pPr lvl="1"/>
            <a:r>
              <a:rPr lang="vi-VN" sz="2400">
                <a:latin typeface="Arial" panose="020B0604020202020204" pitchFamily="34" charset="0"/>
                <a:cs typeface="Arial" panose="020B0604020202020204" pitchFamily="34" charset="0"/>
              </a:rPr>
              <a:t> </a:t>
            </a: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r>
                <a:rPr lang="es-ES" sz="3200" b="1">
                  <a:latin typeface="Arial" panose="020B0604020202020204" pitchFamily="34" charset="0"/>
                  <a:ea typeface="Segoe UI Black" panose="020B0A02040204020203" pitchFamily="34" charset="0"/>
                  <a:cs typeface="Arial" panose="020B0604020202020204" pitchFamily="34" charset="0"/>
                </a:rPr>
                <a:t>1. Có u hay không, u cơ quan nào?</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cxnSp>
        <p:nvCxnSpPr>
          <p:cNvPr id="7" name="Đường nối Thẳng 6">
            <a:extLst>
              <a:ext uri="{FF2B5EF4-FFF2-40B4-BE49-F238E27FC236}">
                <a16:creationId xmlns:a16="http://schemas.microsoft.com/office/drawing/2014/main" id="{9A8896D3-9C56-7AA3-D631-08A67A0D5D99}"/>
              </a:ext>
            </a:extLst>
          </p:cNvPr>
          <p:cNvCxnSpPr>
            <a:cxnSpLocks/>
          </p:cNvCxnSpPr>
          <p:nvPr/>
        </p:nvCxnSpPr>
        <p:spPr>
          <a:xfrm>
            <a:off x="979715" y="1763486"/>
            <a:ext cx="0" cy="3265714"/>
          </a:xfrm>
          <a:prstGeom prst="line">
            <a:avLst/>
          </a:prstGeom>
        </p:spPr>
        <p:style>
          <a:lnRef idx="1">
            <a:schemeClr val="accent2"/>
          </a:lnRef>
          <a:fillRef idx="0">
            <a:schemeClr val="accent2"/>
          </a:fillRef>
          <a:effectRef idx="0">
            <a:schemeClr val="accent2"/>
          </a:effectRef>
          <a:fontRef idx="minor">
            <a:schemeClr val="tx1"/>
          </a:fontRef>
        </p:style>
      </p:cxnSp>
      <p:sp>
        <p:nvSpPr>
          <p:cNvPr id="9" name="TextBox 116">
            <a:extLst>
              <a:ext uri="{FF2B5EF4-FFF2-40B4-BE49-F238E27FC236}">
                <a16:creationId xmlns:a16="http://schemas.microsoft.com/office/drawing/2014/main" id="{C86A788E-1D01-D708-00A4-3B9CC9FE40AD}"/>
              </a:ext>
            </a:extLst>
          </p:cNvPr>
          <p:cNvSpPr txBox="1"/>
          <p:nvPr/>
        </p:nvSpPr>
        <p:spPr>
          <a:xfrm>
            <a:off x="835387" y="2066148"/>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10" name="Tam giác Cân 9">
            <a:extLst>
              <a:ext uri="{FF2B5EF4-FFF2-40B4-BE49-F238E27FC236}">
                <a16:creationId xmlns:a16="http://schemas.microsoft.com/office/drawing/2014/main" id="{1062A534-682F-8362-919D-980C2BF54235}"/>
              </a:ext>
            </a:extLst>
          </p:cNvPr>
          <p:cNvSpPr/>
          <p:nvPr/>
        </p:nvSpPr>
        <p:spPr>
          <a:xfrm rot="5400000">
            <a:off x="978407" y="2776037"/>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2901459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25">
            <a:extLst>
              <a:ext uri="{FF2B5EF4-FFF2-40B4-BE49-F238E27FC236}">
                <a16:creationId xmlns:a16="http://schemas.microsoft.com/office/drawing/2014/main" id="{86664258-EEB6-4031-4738-8CE580469BEE}"/>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4" name="Graphic 113">
            <a:extLst>
              <a:ext uri="{FF2B5EF4-FFF2-40B4-BE49-F238E27FC236}">
                <a16:creationId xmlns:a16="http://schemas.microsoft.com/office/drawing/2014/main" id="{F8F56372-D285-73C5-D2A2-67BED56C73D6}"/>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3" name="Hộp Văn bản 2">
            <a:extLst>
              <a:ext uri="{FF2B5EF4-FFF2-40B4-BE49-F238E27FC236}">
                <a16:creationId xmlns:a16="http://schemas.microsoft.com/office/drawing/2014/main" id="{F70EE032-90F0-A0E7-8B7F-CD40BE0F6C3D}"/>
              </a:ext>
            </a:extLst>
          </p:cNvPr>
          <p:cNvSpPr txBox="1"/>
          <p:nvPr/>
        </p:nvSpPr>
        <p:spPr>
          <a:xfrm>
            <a:off x="661737" y="1852863"/>
            <a:ext cx="3104147" cy="646331"/>
          </a:xfrm>
          <a:prstGeom prst="rect">
            <a:avLst/>
          </a:prstGeom>
          <a:noFill/>
        </p:spPr>
        <p:txBody>
          <a:bodyPr wrap="square" rtlCol="0">
            <a:spAutoFit/>
          </a:bodyPr>
          <a:lstStyle/>
          <a:p>
            <a:pPr marL="285750" indent="-285750">
              <a:buFontTx/>
              <a:buChar char="-"/>
            </a:pPr>
            <a:endParaRPr lang="vi-VN">
              <a:latin typeface="Calibri" panose="020F0502020204030204" pitchFamily="34" charset="0"/>
              <a:cs typeface="Calibri" panose="020F0502020204030204" pitchFamily="34" charset="0"/>
            </a:endParaRPr>
          </a:p>
          <a:p>
            <a:pPr marL="285750" indent="-285750">
              <a:buFontTx/>
              <a:buChar char="-"/>
            </a:pPr>
            <a:endParaRPr lang="vi-VN">
              <a:latin typeface="Calibri" panose="020F0502020204030204" pitchFamily="34" charset="0"/>
              <a:cs typeface="Calibri" panose="020F0502020204030204" pitchFamily="34" charset="0"/>
            </a:endParaRPr>
          </a:p>
        </p:txBody>
      </p:sp>
      <p:pic>
        <p:nvPicPr>
          <p:cNvPr id="1026" name="Picture 2">
            <a:extLst>
              <a:ext uri="{FF2B5EF4-FFF2-40B4-BE49-F238E27FC236}">
                <a16:creationId xmlns:a16="http://schemas.microsoft.com/office/drawing/2014/main" id="{5B22178B-5CAC-5346-FA8A-9375AC138D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0018" y="614362"/>
            <a:ext cx="7248525" cy="5629275"/>
          </a:xfrm>
          <a:prstGeom prst="rect">
            <a:avLst/>
          </a:prstGeom>
          <a:noFill/>
          <a:extLst>
            <a:ext uri="{909E8E84-426E-40DD-AFC4-6F175D3DCCD1}">
              <a14:hiddenFill xmlns:a14="http://schemas.microsoft.com/office/drawing/2010/main">
                <a:solidFill>
                  <a:srgbClr val="FFFFFF"/>
                </a:solidFill>
              </a14:hiddenFill>
            </a:ext>
          </a:extLst>
        </p:spPr>
      </p:pic>
      <p:sp>
        <p:nvSpPr>
          <p:cNvPr id="5" name="Hộp Văn bản 4">
            <a:extLst>
              <a:ext uri="{FF2B5EF4-FFF2-40B4-BE49-F238E27FC236}">
                <a16:creationId xmlns:a16="http://schemas.microsoft.com/office/drawing/2014/main" id="{7E3C8C00-D5B4-4085-ADC0-2B187A872EA6}"/>
              </a:ext>
            </a:extLst>
          </p:cNvPr>
          <p:cNvSpPr txBox="1"/>
          <p:nvPr/>
        </p:nvSpPr>
        <p:spPr>
          <a:xfrm>
            <a:off x="546263" y="5124866"/>
            <a:ext cx="2293755" cy="1200329"/>
          </a:xfrm>
          <a:prstGeom prst="rect">
            <a:avLst/>
          </a:prstGeom>
          <a:noFill/>
        </p:spPr>
        <p:txBody>
          <a:bodyPr wrap="square">
            <a:spAutoFit/>
          </a:bodyPr>
          <a:lstStyle/>
          <a:p>
            <a:r>
              <a:rPr lang="en-US" sz="1200" b="0" i="0">
                <a:effectLst/>
                <a:latin typeface="Roboto" panose="02000000000000000000" pitchFamily="2" charset="0"/>
              </a:rPr>
              <a:t>Verma A, Shukla S, Verma N. Diagnosis, Preoperative Evaluation, and Assessment of Resectability of Pancreatic and Periampullary Cancer. Indian J Surg. 2015 Oct;77(5):362-70</a:t>
            </a:r>
            <a:endParaRPr lang="vi-VN" sz="1200"/>
          </a:p>
        </p:txBody>
      </p:sp>
      <p:sp>
        <p:nvSpPr>
          <p:cNvPr id="6" name="TextBox 102">
            <a:extLst>
              <a:ext uri="{FF2B5EF4-FFF2-40B4-BE49-F238E27FC236}">
                <a16:creationId xmlns:a16="http://schemas.microsoft.com/office/drawing/2014/main" id="{3842F4DD-375D-5EC7-9FEF-37C98B86CAAE}"/>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Tree>
    <p:extLst>
      <p:ext uri="{BB962C8B-B14F-4D97-AF65-F5344CB8AC3E}">
        <p14:creationId xmlns:p14="http://schemas.microsoft.com/office/powerpoint/2010/main" val="357500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raphic 113">
            <a:extLst>
              <a:ext uri="{FF2B5EF4-FFF2-40B4-BE49-F238E27FC236}">
                <a16:creationId xmlns:a16="http://schemas.microsoft.com/office/drawing/2014/main" id="{DDBD0C5E-E55F-69CC-BD77-E657E96EEDB9}"/>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pic>
        <p:nvPicPr>
          <p:cNvPr id="6" name="Hình ảnh 5">
            <a:extLst>
              <a:ext uri="{FF2B5EF4-FFF2-40B4-BE49-F238E27FC236}">
                <a16:creationId xmlns:a16="http://schemas.microsoft.com/office/drawing/2014/main" id="{BDAE58D1-422C-22B2-CE26-2F6A9504DA09}"/>
              </a:ext>
            </a:extLst>
          </p:cNvPr>
          <p:cNvPicPr>
            <a:picLocks noChangeAspect="1"/>
          </p:cNvPicPr>
          <p:nvPr/>
        </p:nvPicPr>
        <p:blipFill>
          <a:blip r:embed="rId3"/>
          <a:stretch>
            <a:fillRect/>
          </a:stretch>
        </p:blipFill>
        <p:spPr>
          <a:xfrm>
            <a:off x="2101145" y="1583353"/>
            <a:ext cx="7989709" cy="3691294"/>
          </a:xfrm>
          <a:prstGeom prst="rect">
            <a:avLst/>
          </a:prstGeom>
        </p:spPr>
      </p:pic>
      <p:sp>
        <p:nvSpPr>
          <p:cNvPr id="7" name="Hộp Văn bản 6">
            <a:extLst>
              <a:ext uri="{FF2B5EF4-FFF2-40B4-BE49-F238E27FC236}">
                <a16:creationId xmlns:a16="http://schemas.microsoft.com/office/drawing/2014/main" id="{7C3FEAE7-064E-BCD4-2B19-DA5A3E62C027}"/>
              </a:ext>
            </a:extLst>
          </p:cNvPr>
          <p:cNvSpPr txBox="1"/>
          <p:nvPr/>
        </p:nvSpPr>
        <p:spPr>
          <a:xfrm>
            <a:off x="1374594" y="5846543"/>
            <a:ext cx="9886950" cy="430887"/>
          </a:xfrm>
          <a:prstGeom prst="rect">
            <a:avLst/>
          </a:prstGeom>
          <a:noFill/>
        </p:spPr>
        <p:txBody>
          <a:bodyPr wrap="square">
            <a:spAutoFit/>
          </a:bodyPr>
          <a:lstStyle/>
          <a:p>
            <a:r>
              <a:rPr lang="en-US" sz="1100"/>
              <a:t>Nikolaidis, P., Hammond, N. A., Day, K., Yaghmai, V., Wood, C. G., Mosbach, D. S., … Miller, F. H. (2014). Imaging Features of Benign and Malignant Ampullary and Periampullary Lesions. RadioGraphics, 34(3), 624–641.</a:t>
            </a:r>
            <a:endParaRPr lang="vi-VN" sz="1100"/>
          </a:p>
        </p:txBody>
      </p:sp>
      <p:sp>
        <p:nvSpPr>
          <p:cNvPr id="5" name="TextBox 125">
            <a:extLst>
              <a:ext uri="{FF2B5EF4-FFF2-40B4-BE49-F238E27FC236}">
                <a16:creationId xmlns:a16="http://schemas.microsoft.com/office/drawing/2014/main" id="{AFC0A2CD-293B-F89D-BD6C-C284CCB925E2}"/>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9" name="TextBox 102">
            <a:extLst>
              <a:ext uri="{FF2B5EF4-FFF2-40B4-BE49-F238E27FC236}">
                <a16:creationId xmlns:a16="http://schemas.microsoft.com/office/drawing/2014/main" id="{760B8F6A-FB91-380E-ABAF-9FCA33E2CF1C}"/>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Tree>
    <p:extLst>
      <p:ext uri="{BB962C8B-B14F-4D97-AF65-F5344CB8AC3E}">
        <p14:creationId xmlns:p14="http://schemas.microsoft.com/office/powerpoint/2010/main" val="1289879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2" name="Hộp Văn bản 1">
            <a:extLst>
              <a:ext uri="{FF2B5EF4-FFF2-40B4-BE49-F238E27FC236}">
                <a16:creationId xmlns:a16="http://schemas.microsoft.com/office/drawing/2014/main" id="{45BE9921-35AA-4150-BFB4-D62331CEB36D}"/>
              </a:ext>
            </a:extLst>
          </p:cNvPr>
          <p:cNvSpPr txBox="1"/>
          <p:nvPr/>
        </p:nvSpPr>
        <p:spPr>
          <a:xfrm>
            <a:off x="1124768" y="2062487"/>
            <a:ext cx="8398933" cy="4154984"/>
          </a:xfrm>
          <a:prstGeom prst="rect">
            <a:avLst/>
          </a:prstGeom>
          <a:noFill/>
        </p:spPr>
        <p:txBody>
          <a:bodyPr wrap="square" rtlCol="0">
            <a:spAutoFit/>
          </a:bodyPr>
          <a:lstStyle/>
          <a:p>
            <a:r>
              <a:rPr lang="vi-VN" sz="2400" u="sng">
                <a:latin typeface="Arial" panose="020B0604020202020204" pitchFamily="34" charset="0"/>
                <a:cs typeface="Arial" panose="020B0604020202020204" pitchFamily="34" charset="0"/>
              </a:rPr>
              <a:t>CT scan bụng</a:t>
            </a:r>
          </a:p>
          <a:p>
            <a:endParaRPr lang="vi-VN" sz="2400">
              <a:latin typeface="Arial" panose="020B0604020202020204" pitchFamily="34" charset="0"/>
              <a:cs typeface="Arial" panose="020B0604020202020204" pitchFamily="34" charset="0"/>
            </a:endParaRPr>
          </a:p>
          <a:p>
            <a:r>
              <a:rPr lang="vi-VN" sz="2400">
                <a:latin typeface="Arial" panose="020B0604020202020204" pitchFamily="34" charset="0"/>
                <a:cs typeface="Arial" panose="020B0604020202020204" pitchFamily="34" charset="0"/>
              </a:rPr>
              <a:t>Ung thư bóng vater: </a:t>
            </a:r>
          </a:p>
          <a:p>
            <a:r>
              <a:rPr lang="vi-VN" sz="2400">
                <a:latin typeface="Arial" panose="020B0604020202020204" pitchFamily="34" charset="0"/>
                <a:cs typeface="Arial" panose="020B0604020202020204" pitchFamily="34" charset="0"/>
              </a:rPr>
              <a:t>	</a:t>
            </a:r>
            <a:r>
              <a:rPr lang="en-US" sz="2400">
                <a:latin typeface="Arial" panose="020B0604020202020204" pitchFamily="34" charset="0"/>
                <a:cs typeface="Arial" panose="020B0604020202020204" pitchFamily="34" charset="0"/>
              </a:rPr>
              <a:t>K</a:t>
            </a:r>
            <a:r>
              <a:rPr lang="vi-VN" sz="2400">
                <a:latin typeface="Arial" panose="020B0604020202020204" pitchFamily="34" charset="0"/>
                <a:cs typeface="Arial" panose="020B0604020202020204" pitchFamily="34" charset="0"/>
              </a:rPr>
              <a:t>hối chia thùy hay thâm nhiễm vị trí bóng vater </a:t>
            </a:r>
          </a:p>
          <a:p>
            <a:r>
              <a:rPr lang="vi-VN" sz="2400">
                <a:latin typeface="Arial" panose="020B0604020202020204" pitchFamily="34" charset="0"/>
                <a:cs typeface="Arial" panose="020B0604020202020204" pitchFamily="34" charset="0"/>
              </a:rPr>
              <a:t>	Giảm đậm độ/phim không thuốc</a:t>
            </a:r>
          </a:p>
          <a:p>
            <a:r>
              <a:rPr lang="vi-VN" sz="2400">
                <a:latin typeface="Arial" panose="020B0604020202020204" pitchFamily="34" charset="0"/>
                <a:cs typeface="Arial" panose="020B0604020202020204" pitchFamily="34" charset="0"/>
              </a:rPr>
              <a:t>	Tăng đậm độ thì động mạch và tĩnh mạch cửa </a:t>
            </a:r>
          </a:p>
          <a:p>
            <a:r>
              <a:rPr lang="vi-VN" sz="2400">
                <a:latin typeface="Arial" panose="020B0604020202020204" pitchFamily="34" charset="0"/>
                <a:cs typeface="Arial" panose="020B0604020202020204" pitchFamily="34" charset="0"/>
              </a:rPr>
              <a:t>	Hình ảnh gián tiếp: dấu hiệu ống đôi (double – sign duct)</a:t>
            </a:r>
          </a:p>
          <a:p>
            <a:r>
              <a:rPr lang="vi-VN" sz="2400">
                <a:latin typeface="Arial" panose="020B0604020202020204" pitchFamily="34" charset="0"/>
                <a:cs typeface="Arial" panose="020B0604020202020204" pitchFamily="34" charset="0"/>
              </a:rPr>
              <a:t> </a:t>
            </a: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r>
                <a:rPr lang="es-ES" sz="3200" b="1">
                  <a:latin typeface="Arial" panose="020B0604020202020204" pitchFamily="34" charset="0"/>
                  <a:ea typeface="Segoe UI Black" panose="020B0A02040204020203" pitchFamily="34" charset="0"/>
                  <a:cs typeface="Arial" panose="020B0604020202020204" pitchFamily="34" charset="0"/>
                </a:rPr>
                <a:t>1. Có u hay không, u cơ quan nào?</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grpSp>
        <p:nvGrpSpPr>
          <p:cNvPr id="9" name="Nhóm 8">
            <a:extLst>
              <a:ext uri="{FF2B5EF4-FFF2-40B4-BE49-F238E27FC236}">
                <a16:creationId xmlns:a16="http://schemas.microsoft.com/office/drawing/2014/main" id="{A53EC971-6BE6-5BC3-9EDB-B934198D3F9D}"/>
              </a:ext>
            </a:extLst>
          </p:cNvPr>
          <p:cNvGrpSpPr/>
          <p:nvPr/>
        </p:nvGrpSpPr>
        <p:grpSpPr>
          <a:xfrm>
            <a:off x="706753" y="1878910"/>
            <a:ext cx="418015" cy="3265714"/>
            <a:chOff x="706753" y="1878910"/>
            <a:chExt cx="418015" cy="3265714"/>
          </a:xfrm>
        </p:grpSpPr>
        <p:cxnSp>
          <p:nvCxnSpPr>
            <p:cNvPr id="6" name="Đường nối Thẳng 5">
              <a:extLst>
                <a:ext uri="{FF2B5EF4-FFF2-40B4-BE49-F238E27FC236}">
                  <a16:creationId xmlns:a16="http://schemas.microsoft.com/office/drawing/2014/main" id="{8734CA55-16D3-FFE7-DA93-1455347C358D}"/>
                </a:ext>
              </a:extLst>
            </p:cNvPr>
            <p:cNvCxnSpPr>
              <a:cxnSpLocks/>
            </p:cNvCxnSpPr>
            <p:nvPr/>
          </p:nvCxnSpPr>
          <p:spPr>
            <a:xfrm>
              <a:off x="851081" y="1878910"/>
              <a:ext cx="0" cy="3265714"/>
            </a:xfrm>
            <a:prstGeom prst="line">
              <a:avLst/>
            </a:prstGeom>
          </p:spPr>
          <p:style>
            <a:lnRef idx="1">
              <a:schemeClr val="accent2"/>
            </a:lnRef>
            <a:fillRef idx="0">
              <a:schemeClr val="accent2"/>
            </a:fillRef>
            <a:effectRef idx="0">
              <a:schemeClr val="accent2"/>
            </a:effectRef>
            <a:fontRef idx="minor">
              <a:schemeClr val="tx1"/>
            </a:fontRef>
          </p:style>
        </p:cxnSp>
        <p:sp>
          <p:nvSpPr>
            <p:cNvPr id="7" name="TextBox 116">
              <a:extLst>
                <a:ext uri="{FF2B5EF4-FFF2-40B4-BE49-F238E27FC236}">
                  <a16:creationId xmlns:a16="http://schemas.microsoft.com/office/drawing/2014/main" id="{9CCAA2FD-B28C-EDA3-67F3-DAF749279EF0}"/>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8" name="Tam giác Cân 7">
              <a:extLst>
                <a:ext uri="{FF2B5EF4-FFF2-40B4-BE49-F238E27FC236}">
                  <a16:creationId xmlns:a16="http://schemas.microsoft.com/office/drawing/2014/main" id="{A39676C6-97B2-B93B-DF45-BA76FC9B824A}"/>
                </a:ext>
              </a:extLst>
            </p:cNvPr>
            <p:cNvSpPr/>
            <p:nvPr/>
          </p:nvSpPr>
          <p:spPr>
            <a:xfrm rot="5400000">
              <a:off x="846091" y="2874337"/>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pSp>
    </p:spTree>
    <p:extLst>
      <p:ext uri="{BB962C8B-B14F-4D97-AF65-F5344CB8AC3E}">
        <p14:creationId xmlns:p14="http://schemas.microsoft.com/office/powerpoint/2010/main" val="5982681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25">
            <a:extLst>
              <a:ext uri="{FF2B5EF4-FFF2-40B4-BE49-F238E27FC236}">
                <a16:creationId xmlns:a16="http://schemas.microsoft.com/office/drawing/2014/main" id="{8E9DFDEC-A755-4820-432C-E50C3F32642E}"/>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5" name="Graphic 113">
            <a:extLst>
              <a:ext uri="{FF2B5EF4-FFF2-40B4-BE49-F238E27FC236}">
                <a16:creationId xmlns:a16="http://schemas.microsoft.com/office/drawing/2014/main" id="{CEE5F21F-A7B5-1490-EF0A-996472F80AE3}"/>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6" name="TextBox 102">
            <a:extLst>
              <a:ext uri="{FF2B5EF4-FFF2-40B4-BE49-F238E27FC236}">
                <a16:creationId xmlns:a16="http://schemas.microsoft.com/office/drawing/2014/main" id="{B4FD0DCB-AD86-A95E-EB8B-3EEE4EFA867E}"/>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pic>
        <p:nvPicPr>
          <p:cNvPr id="1026" name="Picture 2" descr="Ampullary carcinoma. Contrast enhanced axial CT (a) and coronal reformat (b) showing a small polypoid mass (arrow) representing carcinoma in the ampulla of the bile duct. ">
            <a:extLst>
              <a:ext uri="{FF2B5EF4-FFF2-40B4-BE49-F238E27FC236}">
                <a16:creationId xmlns:a16="http://schemas.microsoft.com/office/drawing/2014/main" id="{4E86E588-78BF-9001-424D-4F4CEFC7B1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9475" y="1381182"/>
            <a:ext cx="8153050" cy="3555736"/>
          </a:xfrm>
          <a:prstGeom prst="rect">
            <a:avLst/>
          </a:prstGeom>
          <a:noFill/>
          <a:extLst>
            <a:ext uri="{909E8E84-426E-40DD-AFC4-6F175D3DCCD1}">
              <a14:hiddenFill xmlns:a14="http://schemas.microsoft.com/office/drawing/2010/main">
                <a:solidFill>
                  <a:srgbClr val="FFFFFF"/>
                </a:solidFill>
              </a14:hiddenFill>
            </a:ext>
          </a:extLst>
        </p:spPr>
      </p:pic>
      <p:sp>
        <p:nvSpPr>
          <p:cNvPr id="4" name="Hộp Văn bản 3">
            <a:extLst>
              <a:ext uri="{FF2B5EF4-FFF2-40B4-BE49-F238E27FC236}">
                <a16:creationId xmlns:a16="http://schemas.microsoft.com/office/drawing/2014/main" id="{F881D621-B657-8F8D-D924-7D53CCE7F8A2}"/>
              </a:ext>
            </a:extLst>
          </p:cNvPr>
          <p:cNvSpPr txBox="1"/>
          <p:nvPr/>
        </p:nvSpPr>
        <p:spPr>
          <a:xfrm>
            <a:off x="2019475" y="5726097"/>
            <a:ext cx="8971671" cy="246221"/>
          </a:xfrm>
          <a:prstGeom prst="rect">
            <a:avLst/>
          </a:prstGeom>
          <a:noFill/>
        </p:spPr>
        <p:txBody>
          <a:bodyPr wrap="square">
            <a:spAutoFit/>
          </a:bodyPr>
          <a:lstStyle/>
          <a:p>
            <a:r>
              <a:rPr lang="en-US" sz="1000"/>
              <a:t>Hennedige, Tiffany &amp; Neo, Wee &amp; Venkatesh, Sudhakar. (2014). Imaging of malignancies of the biliary tract- an update. Cancer Imaging.</a:t>
            </a:r>
            <a:endParaRPr lang="vi-VN" sz="1000"/>
          </a:p>
        </p:txBody>
      </p:sp>
    </p:spTree>
    <p:extLst>
      <p:ext uri="{BB962C8B-B14F-4D97-AF65-F5344CB8AC3E}">
        <p14:creationId xmlns:p14="http://schemas.microsoft.com/office/powerpoint/2010/main" val="32817005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2" name="Hộp Văn bản 1">
            <a:extLst>
              <a:ext uri="{FF2B5EF4-FFF2-40B4-BE49-F238E27FC236}">
                <a16:creationId xmlns:a16="http://schemas.microsoft.com/office/drawing/2014/main" id="{45BE9921-35AA-4150-BFB4-D62331CEB36D}"/>
              </a:ext>
            </a:extLst>
          </p:cNvPr>
          <p:cNvSpPr txBox="1"/>
          <p:nvPr/>
        </p:nvSpPr>
        <p:spPr>
          <a:xfrm>
            <a:off x="1124768" y="2062487"/>
            <a:ext cx="8398933" cy="4154984"/>
          </a:xfrm>
          <a:prstGeom prst="rect">
            <a:avLst/>
          </a:prstGeom>
          <a:noFill/>
        </p:spPr>
        <p:txBody>
          <a:bodyPr wrap="square" rtlCol="0">
            <a:spAutoFit/>
          </a:bodyPr>
          <a:lstStyle/>
          <a:p>
            <a:r>
              <a:rPr lang="vi-VN" sz="2400" u="sng">
                <a:latin typeface="Arial" panose="020B0604020202020204" pitchFamily="34" charset="0"/>
                <a:cs typeface="Arial" panose="020B0604020202020204" pitchFamily="34" charset="0"/>
              </a:rPr>
              <a:t>CT scan bụng</a:t>
            </a:r>
          </a:p>
          <a:p>
            <a:endParaRPr lang="vi-VN" sz="2400">
              <a:latin typeface="Arial" panose="020B0604020202020204" pitchFamily="34" charset="0"/>
              <a:cs typeface="Arial" panose="020B0604020202020204" pitchFamily="34" charset="0"/>
            </a:endParaRPr>
          </a:p>
          <a:p>
            <a:r>
              <a:rPr lang="vi-VN" sz="2400"/>
              <a:t>Ung thư đoạn cuối ống mật chủ:</a:t>
            </a:r>
          </a:p>
          <a:p>
            <a:r>
              <a:rPr lang="vi-VN" sz="2400"/>
              <a:t>	Tổn thương tăng bắt thuốc. </a:t>
            </a:r>
          </a:p>
          <a:p>
            <a:r>
              <a:rPr lang="vi-VN" sz="2400"/>
              <a:t>	Biểu hiện các dạng: </a:t>
            </a:r>
          </a:p>
          <a:p>
            <a:r>
              <a:rPr lang="vi-VN" sz="2400"/>
              <a:t>	- Dạng khối gây chít hẹp OMC</a:t>
            </a:r>
          </a:p>
          <a:p>
            <a:r>
              <a:rPr lang="vi-VN" sz="2400"/>
              <a:t>	- Dạng thâm nhiễm: dày thành bất đối xứng</a:t>
            </a:r>
            <a:endParaRPr lang="vi-VN" sz="2400">
              <a:latin typeface="Arial" panose="020B0604020202020204" pitchFamily="34" charset="0"/>
              <a:cs typeface="Arial" panose="020B0604020202020204" pitchFamily="34" charset="0"/>
            </a:endParaRPr>
          </a:p>
          <a:p>
            <a:r>
              <a:rPr lang="vi-VN" sz="2400">
                <a:latin typeface="Arial" panose="020B0604020202020204" pitchFamily="34" charset="0"/>
                <a:cs typeface="Arial" panose="020B0604020202020204" pitchFamily="34" charset="0"/>
              </a:rPr>
              <a:t> </a:t>
            </a: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r>
                <a:rPr lang="es-ES" sz="3200" b="1">
                  <a:latin typeface="Arial" panose="020B0604020202020204" pitchFamily="34" charset="0"/>
                  <a:ea typeface="Segoe UI Black" panose="020B0A02040204020203" pitchFamily="34" charset="0"/>
                  <a:cs typeface="Arial" panose="020B0604020202020204" pitchFamily="34" charset="0"/>
                </a:rPr>
                <a:t>1. Có u hay không, u cơ quan nào?</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cxnSp>
        <p:nvCxnSpPr>
          <p:cNvPr id="6" name="Đường nối Thẳng 5">
            <a:extLst>
              <a:ext uri="{FF2B5EF4-FFF2-40B4-BE49-F238E27FC236}">
                <a16:creationId xmlns:a16="http://schemas.microsoft.com/office/drawing/2014/main" id="{8734CA55-16D3-FFE7-DA93-1455347C358D}"/>
              </a:ext>
            </a:extLst>
          </p:cNvPr>
          <p:cNvCxnSpPr>
            <a:cxnSpLocks/>
          </p:cNvCxnSpPr>
          <p:nvPr/>
        </p:nvCxnSpPr>
        <p:spPr>
          <a:xfrm>
            <a:off x="851081" y="1878910"/>
            <a:ext cx="0" cy="3265714"/>
          </a:xfrm>
          <a:prstGeom prst="line">
            <a:avLst/>
          </a:prstGeom>
        </p:spPr>
        <p:style>
          <a:lnRef idx="1">
            <a:schemeClr val="accent2"/>
          </a:lnRef>
          <a:fillRef idx="0">
            <a:schemeClr val="accent2"/>
          </a:fillRef>
          <a:effectRef idx="0">
            <a:schemeClr val="accent2"/>
          </a:effectRef>
          <a:fontRef idx="minor">
            <a:schemeClr val="tx1"/>
          </a:fontRef>
        </p:style>
      </p:cxnSp>
      <p:sp>
        <p:nvSpPr>
          <p:cNvPr id="7" name="TextBox 116">
            <a:extLst>
              <a:ext uri="{FF2B5EF4-FFF2-40B4-BE49-F238E27FC236}">
                <a16:creationId xmlns:a16="http://schemas.microsoft.com/office/drawing/2014/main" id="{9CCAA2FD-B28C-EDA3-67F3-DAF749279EF0}"/>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8" name="Tam giác Cân 7">
            <a:extLst>
              <a:ext uri="{FF2B5EF4-FFF2-40B4-BE49-F238E27FC236}">
                <a16:creationId xmlns:a16="http://schemas.microsoft.com/office/drawing/2014/main" id="{A39676C6-97B2-B93B-DF45-BA76FC9B824A}"/>
              </a:ext>
            </a:extLst>
          </p:cNvPr>
          <p:cNvSpPr/>
          <p:nvPr/>
        </p:nvSpPr>
        <p:spPr>
          <a:xfrm rot="5400000">
            <a:off x="846091" y="2874337"/>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1641362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Freeform: Shape 67">
            <a:extLst>
              <a:ext uri="{FF2B5EF4-FFF2-40B4-BE49-F238E27FC236}">
                <a16:creationId xmlns:a16="http://schemas.microsoft.com/office/drawing/2014/main" id="{23F0C8A8-EBAB-4071-851C-3BBEB54BBBC4}"/>
              </a:ext>
            </a:extLst>
          </p:cNvPr>
          <p:cNvSpPr/>
          <p:nvPr/>
        </p:nvSpPr>
        <p:spPr>
          <a:xfrm>
            <a:off x="-1"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457200" algn="ctr">
              <a:lnSpc>
                <a:spcPct val="90000"/>
              </a:lnSpc>
              <a:spcBef>
                <a:spcPts val="1000"/>
              </a:spcBef>
              <a:buSzPct val="100000"/>
            </a:pPr>
            <a:endParaRPr lang="en-US">
              <a:latin typeface="Calibri" panose="020F0502020204030204" pitchFamily="34" charset="0"/>
            </a:endParaRPr>
          </a:p>
        </p:txBody>
      </p:sp>
      <p:sp>
        <p:nvSpPr>
          <p:cNvPr id="50" name="Rectangle: Top Corners Rounded 49">
            <a:extLst>
              <a:ext uri="{FF2B5EF4-FFF2-40B4-BE49-F238E27FC236}">
                <a16:creationId xmlns:a16="http://schemas.microsoft.com/office/drawing/2014/main" id="{658CCB48-EFFD-42D9-BF6A-280EA5D8DA0F}"/>
              </a:ext>
            </a:extLst>
          </p:cNvPr>
          <p:cNvSpPr/>
          <p:nvPr/>
        </p:nvSpPr>
        <p:spPr>
          <a:xfrm rot="16200000">
            <a:off x="4578816" y="-1250490"/>
            <a:ext cx="4496852" cy="10729525"/>
          </a:xfrm>
          <a:prstGeom prst="round2SameRect">
            <a:avLst>
              <a:gd name="adj1" fmla="val 4465"/>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a:extLst>
              <a:ext uri="{FF2B5EF4-FFF2-40B4-BE49-F238E27FC236}">
                <a16:creationId xmlns:a16="http://schemas.microsoft.com/office/drawing/2014/main" id="{05C09C45-5E61-4FAA-BCD3-909AFCEC4EC3}"/>
              </a:ext>
            </a:extLst>
          </p:cNvPr>
          <p:cNvGrpSpPr/>
          <p:nvPr/>
        </p:nvGrpSpPr>
        <p:grpSpPr>
          <a:xfrm>
            <a:off x="533402" y="492718"/>
            <a:ext cx="3462486" cy="1135104"/>
            <a:chOff x="533402" y="492718"/>
            <a:chExt cx="1363132" cy="1135104"/>
          </a:xfrm>
        </p:grpSpPr>
        <p:sp>
          <p:nvSpPr>
            <p:cNvPr id="7" name="TextBox 6">
              <a:extLst>
                <a:ext uri="{FF2B5EF4-FFF2-40B4-BE49-F238E27FC236}">
                  <a16:creationId xmlns:a16="http://schemas.microsoft.com/office/drawing/2014/main" id="{9065F0BC-0A5E-4161-BF7D-AC055EABC39D}"/>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51" name="TextBox 50">
              <a:extLst>
                <a:ext uri="{FF2B5EF4-FFF2-40B4-BE49-F238E27FC236}">
                  <a16:creationId xmlns:a16="http://schemas.microsoft.com/office/drawing/2014/main" id="{7DF1AB91-8AE7-412A-8A3F-8BF9CF07638E}"/>
                </a:ext>
              </a:extLst>
            </p:cNvPr>
            <p:cNvSpPr txBox="1"/>
            <p:nvPr/>
          </p:nvSpPr>
          <p:spPr>
            <a:xfrm>
              <a:off x="533402" y="796825"/>
              <a:ext cx="1363132" cy="830997"/>
            </a:xfrm>
            <a:prstGeom prst="rect">
              <a:avLst/>
            </a:prstGeom>
            <a:noFill/>
          </p:spPr>
          <p:txBody>
            <a:bodyPr wrap="none" lIns="0" tIns="0" rIns="0" bIns="0" rtlCol="0" anchor="ctr">
              <a:spAutoFit/>
            </a:bodyPr>
            <a:lstStyle/>
            <a:p>
              <a:r>
                <a:rPr lang="en-US" sz="54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NỘI DUNG</a:t>
              </a:r>
            </a:p>
          </p:txBody>
        </p:sp>
      </p:grpSp>
      <p:sp>
        <p:nvSpPr>
          <p:cNvPr id="59" name="Freeform: Shape 58">
            <a:extLst>
              <a:ext uri="{FF2B5EF4-FFF2-40B4-BE49-F238E27FC236}">
                <a16:creationId xmlns:a16="http://schemas.microsoft.com/office/drawing/2014/main" id="{F00AE12C-A10C-41C1-8465-D0A4833058B8}"/>
              </a:ext>
            </a:extLst>
          </p:cNvPr>
          <p:cNvSpPr/>
          <p:nvPr/>
        </p:nvSpPr>
        <p:spPr>
          <a:xfrm>
            <a:off x="6099994" y="0"/>
            <a:ext cx="609200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70" name="TextBox 69">
            <a:extLst>
              <a:ext uri="{FF2B5EF4-FFF2-40B4-BE49-F238E27FC236}">
                <a16:creationId xmlns:a16="http://schemas.microsoft.com/office/drawing/2014/main" id="{59C3BCDD-8DB4-44E3-9ABE-0B8A33955C4E}"/>
              </a:ext>
            </a:extLst>
          </p:cNvPr>
          <p:cNvSpPr txBox="1"/>
          <p:nvPr/>
        </p:nvSpPr>
        <p:spPr>
          <a:xfrm>
            <a:off x="1105295" y="2472720"/>
            <a:ext cx="689084" cy="689084"/>
          </a:xfrm>
          <a:prstGeom prst="ellipse">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r>
              <a:rPr lang="en-US" sz="2800">
                <a:latin typeface="Arial" panose="020B0604020202020204" pitchFamily="34" charset="0"/>
                <a:cs typeface="Arial" panose="020B0604020202020204" pitchFamily="34" charset="0"/>
                <a:sym typeface="Calibri" panose="020F0502020204030204" pitchFamily="34" charset="0"/>
              </a:rPr>
              <a:t>I</a:t>
            </a:r>
          </a:p>
        </p:txBody>
      </p:sp>
      <p:sp>
        <p:nvSpPr>
          <p:cNvPr id="71" name="TextBox 70">
            <a:extLst>
              <a:ext uri="{FF2B5EF4-FFF2-40B4-BE49-F238E27FC236}">
                <a16:creationId xmlns:a16="http://schemas.microsoft.com/office/drawing/2014/main" id="{D308D527-A254-45FE-8589-A0C5C39ECD62}"/>
              </a:ext>
            </a:extLst>
          </p:cNvPr>
          <p:cNvSpPr txBox="1"/>
          <p:nvPr/>
        </p:nvSpPr>
        <p:spPr>
          <a:xfrm>
            <a:off x="1105295" y="3769730"/>
            <a:ext cx="689084" cy="689084"/>
          </a:xfrm>
          <a:prstGeom prst="ellipse">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r>
              <a:rPr lang="en-US" sz="2800">
                <a:latin typeface="Arial" panose="020B0604020202020204" pitchFamily="34" charset="0"/>
                <a:cs typeface="Arial" panose="020B0604020202020204" pitchFamily="34" charset="0"/>
                <a:sym typeface="Calibri" panose="020F0502020204030204" pitchFamily="34" charset="0"/>
              </a:rPr>
              <a:t>II</a:t>
            </a:r>
          </a:p>
        </p:txBody>
      </p:sp>
      <p:sp>
        <p:nvSpPr>
          <p:cNvPr id="72" name="TextBox 71">
            <a:extLst>
              <a:ext uri="{FF2B5EF4-FFF2-40B4-BE49-F238E27FC236}">
                <a16:creationId xmlns:a16="http://schemas.microsoft.com/office/drawing/2014/main" id="{452D9CC6-5EFC-400C-BA97-68B79F1FAB85}"/>
              </a:ext>
            </a:extLst>
          </p:cNvPr>
          <p:cNvSpPr txBox="1"/>
          <p:nvPr/>
        </p:nvSpPr>
        <p:spPr>
          <a:xfrm>
            <a:off x="1105295" y="5066741"/>
            <a:ext cx="689084" cy="689084"/>
          </a:xfrm>
          <a:prstGeom prst="ellipse">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r>
              <a:rPr lang="en-US" sz="2800">
                <a:latin typeface="Arial" panose="020B0604020202020204" pitchFamily="34" charset="0"/>
                <a:cs typeface="Arial" panose="020B0604020202020204" pitchFamily="34" charset="0"/>
                <a:sym typeface="Calibri" panose="020F0502020204030204" pitchFamily="34" charset="0"/>
              </a:rPr>
              <a:t>III</a:t>
            </a:r>
          </a:p>
        </p:txBody>
      </p:sp>
      <p:sp>
        <p:nvSpPr>
          <p:cNvPr id="74" name="TextBox 73">
            <a:extLst>
              <a:ext uri="{FF2B5EF4-FFF2-40B4-BE49-F238E27FC236}">
                <a16:creationId xmlns:a16="http://schemas.microsoft.com/office/drawing/2014/main" id="{5534F332-C2D2-4FCA-BCF9-C83B6780EAF1}"/>
              </a:ext>
            </a:extLst>
          </p:cNvPr>
          <p:cNvSpPr txBox="1"/>
          <p:nvPr/>
        </p:nvSpPr>
        <p:spPr>
          <a:xfrm rot="13500000">
            <a:off x="958034" y="2312819"/>
            <a:ext cx="1008887" cy="1008887"/>
          </a:xfrm>
          <a:prstGeom prst="arc">
            <a:avLst/>
          </a:prstGeom>
          <a:noFill/>
          <a:ln w="2540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75" name="TextBox 74">
            <a:extLst>
              <a:ext uri="{FF2B5EF4-FFF2-40B4-BE49-F238E27FC236}">
                <a16:creationId xmlns:a16="http://schemas.microsoft.com/office/drawing/2014/main" id="{44A2DE13-B985-4380-98F2-2AC474F46D60}"/>
              </a:ext>
            </a:extLst>
          </p:cNvPr>
          <p:cNvSpPr txBox="1"/>
          <p:nvPr/>
        </p:nvSpPr>
        <p:spPr>
          <a:xfrm rot="13500000">
            <a:off x="958034" y="3609829"/>
            <a:ext cx="1008887" cy="1008887"/>
          </a:xfrm>
          <a:prstGeom prst="arc">
            <a:avLst/>
          </a:prstGeom>
          <a:noFill/>
          <a:ln w="2540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76" name="TextBox 75">
            <a:extLst>
              <a:ext uri="{FF2B5EF4-FFF2-40B4-BE49-F238E27FC236}">
                <a16:creationId xmlns:a16="http://schemas.microsoft.com/office/drawing/2014/main" id="{EEC283E2-BCD1-4368-97B8-BBEDC8AD12AA}"/>
              </a:ext>
            </a:extLst>
          </p:cNvPr>
          <p:cNvSpPr txBox="1"/>
          <p:nvPr/>
        </p:nvSpPr>
        <p:spPr>
          <a:xfrm rot="13500000">
            <a:off x="958034" y="4906840"/>
            <a:ext cx="1008887" cy="1008887"/>
          </a:xfrm>
          <a:prstGeom prst="arc">
            <a:avLst/>
          </a:prstGeom>
          <a:noFill/>
          <a:ln w="2540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79" name="Rectangle 78">
            <a:extLst>
              <a:ext uri="{FF2B5EF4-FFF2-40B4-BE49-F238E27FC236}">
                <a16:creationId xmlns:a16="http://schemas.microsoft.com/office/drawing/2014/main" id="{471A3722-4FBE-4D1C-9445-CDAECF4BE9D0}"/>
              </a:ext>
            </a:extLst>
          </p:cNvPr>
          <p:cNvSpPr/>
          <p:nvPr/>
        </p:nvSpPr>
        <p:spPr>
          <a:xfrm>
            <a:off x="2147494" y="2509486"/>
            <a:ext cx="3944513" cy="615553"/>
          </a:xfrm>
          <a:prstGeom prst="rect">
            <a:avLst/>
          </a:prstGeom>
        </p:spPr>
        <p:txBody>
          <a:bodyPr wrap="square" lIns="0" tIns="0" rIns="0" bIns="0" anchor="ctr">
            <a:spAutoFit/>
          </a:bodyPr>
          <a:lstStyle/>
          <a:p>
            <a:r>
              <a:rPr lang="en-US" sz="4000" b="1" i="0">
                <a:solidFill>
                  <a:schemeClr val="bg2">
                    <a:lumMod val="10000"/>
                  </a:schemeClr>
                </a:solidFill>
                <a:effectLst/>
                <a:latin typeface="Arial" panose="020B0604020202020204" pitchFamily="34" charset="0"/>
                <a:cs typeface="Arial" panose="020B0604020202020204" pitchFamily="34" charset="0"/>
              </a:rPr>
              <a:t>GIỚI THIỆU</a:t>
            </a:r>
            <a:endParaRPr lang="en-US" sz="4000" b="1">
              <a:solidFill>
                <a:schemeClr val="bg2">
                  <a:lumMod val="10000"/>
                </a:schemeClr>
              </a:solidFill>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8E7093F7-547A-4B06-9E04-6378C6F40B84}"/>
              </a:ext>
            </a:extLst>
          </p:cNvPr>
          <p:cNvSpPr/>
          <p:nvPr/>
        </p:nvSpPr>
        <p:spPr>
          <a:xfrm>
            <a:off x="2147494" y="3806497"/>
            <a:ext cx="3944513" cy="615553"/>
          </a:xfrm>
          <a:prstGeom prst="rect">
            <a:avLst/>
          </a:prstGeom>
        </p:spPr>
        <p:txBody>
          <a:bodyPr wrap="square" lIns="0" tIns="0" rIns="0" bIns="0" anchor="ctr">
            <a:spAutoFit/>
          </a:bodyPr>
          <a:lstStyle/>
          <a:p>
            <a:r>
              <a:rPr lang="en-US" sz="4000" b="1" i="0">
                <a:solidFill>
                  <a:schemeClr val="bg2">
                    <a:lumMod val="10000"/>
                  </a:schemeClr>
                </a:solidFill>
                <a:effectLst/>
                <a:latin typeface="Arial" panose="020B0604020202020204" pitchFamily="34" charset="0"/>
                <a:cs typeface="Arial" panose="020B0604020202020204" pitchFamily="34" charset="0"/>
              </a:rPr>
              <a:t>CHẨN ĐOÁN</a:t>
            </a:r>
            <a:endParaRPr lang="en-US" sz="4000" b="1">
              <a:solidFill>
                <a:schemeClr val="bg2">
                  <a:lumMod val="10000"/>
                </a:schemeClr>
              </a:solidFill>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040352BE-9EA9-4928-9BB8-12A18C43B855}"/>
              </a:ext>
            </a:extLst>
          </p:cNvPr>
          <p:cNvSpPr/>
          <p:nvPr/>
        </p:nvSpPr>
        <p:spPr>
          <a:xfrm>
            <a:off x="2147494" y="5103507"/>
            <a:ext cx="3944513" cy="615553"/>
          </a:xfrm>
          <a:prstGeom prst="rect">
            <a:avLst/>
          </a:prstGeom>
        </p:spPr>
        <p:txBody>
          <a:bodyPr wrap="square" lIns="0" tIns="0" rIns="0" bIns="0" anchor="ctr">
            <a:spAutoFit/>
          </a:bodyPr>
          <a:lstStyle/>
          <a:p>
            <a:r>
              <a:rPr lang="en-US" sz="4000" b="1">
                <a:solidFill>
                  <a:schemeClr val="bg2">
                    <a:lumMod val="10000"/>
                  </a:schemeClr>
                </a:solidFill>
                <a:latin typeface="Arial" panose="020B0604020202020204" pitchFamily="34" charset="0"/>
                <a:cs typeface="Arial" panose="020B0604020202020204" pitchFamily="34" charset="0"/>
              </a:rPr>
              <a:t>ĐIỀU TRỊ</a:t>
            </a:r>
          </a:p>
        </p:txBody>
      </p:sp>
      <p:grpSp>
        <p:nvGrpSpPr>
          <p:cNvPr id="84" name="Group 83">
            <a:extLst>
              <a:ext uri="{FF2B5EF4-FFF2-40B4-BE49-F238E27FC236}">
                <a16:creationId xmlns:a16="http://schemas.microsoft.com/office/drawing/2014/main" id="{77A9DF55-6FC7-4D28-AA78-0E0A565BACE8}"/>
              </a:ext>
            </a:extLst>
          </p:cNvPr>
          <p:cNvGrpSpPr/>
          <p:nvPr/>
        </p:nvGrpSpPr>
        <p:grpSpPr>
          <a:xfrm flipH="1">
            <a:off x="7105709" y="256273"/>
            <a:ext cx="1065469" cy="767411"/>
            <a:chOff x="9631490" y="336605"/>
            <a:chExt cx="1065469" cy="767411"/>
          </a:xfrm>
        </p:grpSpPr>
        <p:sp>
          <p:nvSpPr>
            <p:cNvPr id="82" name="Freeform: Shape 81">
              <a:extLst>
                <a:ext uri="{FF2B5EF4-FFF2-40B4-BE49-F238E27FC236}">
                  <a16:creationId xmlns:a16="http://schemas.microsoft.com/office/drawing/2014/main" id="{C6B58C95-642B-4A6B-9665-BF2F065EA4F4}"/>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28849551-1E20-4DF5-A99D-68D4B87801C0}"/>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5245121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25">
            <a:extLst>
              <a:ext uri="{FF2B5EF4-FFF2-40B4-BE49-F238E27FC236}">
                <a16:creationId xmlns:a16="http://schemas.microsoft.com/office/drawing/2014/main" id="{A90D8440-13FA-6657-CF9F-51BF8831CB2D}"/>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5" name="Graphic 113">
            <a:extLst>
              <a:ext uri="{FF2B5EF4-FFF2-40B4-BE49-F238E27FC236}">
                <a16:creationId xmlns:a16="http://schemas.microsoft.com/office/drawing/2014/main" id="{58EF9E4D-08FF-30A8-194B-B9B8468A2B2D}"/>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6" name="TextBox 102">
            <a:extLst>
              <a:ext uri="{FF2B5EF4-FFF2-40B4-BE49-F238E27FC236}">
                <a16:creationId xmlns:a16="http://schemas.microsoft.com/office/drawing/2014/main" id="{2CE245B9-6AA9-B900-F2A0-3F72899661C0}"/>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pic>
        <p:nvPicPr>
          <p:cNvPr id="1026" name="Picture 2" descr="Figure 16">
            <a:extLst>
              <a:ext uri="{FF2B5EF4-FFF2-40B4-BE49-F238E27FC236}">
                <a16:creationId xmlns:a16="http://schemas.microsoft.com/office/drawing/2014/main" id="{AABFCEF5-273D-A5D9-3844-66FF1D8F2A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6276" y="1147527"/>
            <a:ext cx="9919447" cy="4562946"/>
          </a:xfrm>
          <a:prstGeom prst="rect">
            <a:avLst/>
          </a:prstGeom>
          <a:noFill/>
          <a:extLst>
            <a:ext uri="{909E8E84-426E-40DD-AFC4-6F175D3DCCD1}">
              <a14:hiddenFill xmlns:a14="http://schemas.microsoft.com/office/drawing/2010/main">
                <a:solidFill>
                  <a:srgbClr val="FFFFFF"/>
                </a:solidFill>
              </a14:hiddenFill>
            </a:ext>
          </a:extLst>
        </p:spPr>
      </p:pic>
      <p:sp>
        <p:nvSpPr>
          <p:cNvPr id="4" name="Hộp Văn bản 3">
            <a:extLst>
              <a:ext uri="{FF2B5EF4-FFF2-40B4-BE49-F238E27FC236}">
                <a16:creationId xmlns:a16="http://schemas.microsoft.com/office/drawing/2014/main" id="{0F0C43C4-D85E-7086-79B1-D5D8DF8B5C99}"/>
              </a:ext>
            </a:extLst>
          </p:cNvPr>
          <p:cNvSpPr txBox="1"/>
          <p:nvPr/>
        </p:nvSpPr>
        <p:spPr>
          <a:xfrm>
            <a:off x="1274108" y="6257399"/>
            <a:ext cx="9120467" cy="246221"/>
          </a:xfrm>
          <a:prstGeom prst="rect">
            <a:avLst/>
          </a:prstGeom>
          <a:noFill/>
        </p:spPr>
        <p:txBody>
          <a:bodyPr wrap="square">
            <a:spAutoFit/>
          </a:bodyPr>
          <a:lstStyle/>
          <a:p>
            <a:r>
              <a:rPr lang="en-US" sz="1000" b="0" i="0">
                <a:effectLst/>
                <a:latin typeface="-apple-system"/>
              </a:rPr>
              <a:t>Hennedige, T.P., Neo, W.T. &amp; Venkatesh, S.K. Imaging of malignancies of the biliary tract- an update. </a:t>
            </a:r>
            <a:r>
              <a:rPr lang="en-US" sz="1000" b="0" i="1">
                <a:effectLst/>
                <a:latin typeface="-apple-system"/>
              </a:rPr>
              <a:t>cancer imaging</a:t>
            </a:r>
            <a:r>
              <a:rPr lang="en-US" sz="1000" b="0" i="0">
                <a:effectLst/>
                <a:latin typeface="-apple-system"/>
              </a:rPr>
              <a:t> </a:t>
            </a:r>
            <a:r>
              <a:rPr lang="en-US" sz="1000" b="1" i="0">
                <a:effectLst/>
                <a:latin typeface="-apple-system"/>
              </a:rPr>
              <a:t>14</a:t>
            </a:r>
            <a:r>
              <a:rPr lang="en-US" sz="1000" b="0" i="0">
                <a:effectLst/>
                <a:latin typeface="-apple-system"/>
              </a:rPr>
              <a:t>, 14 (2014).</a:t>
            </a:r>
            <a:endParaRPr lang="vi-VN" sz="1000"/>
          </a:p>
        </p:txBody>
      </p:sp>
    </p:spTree>
    <p:extLst>
      <p:ext uri="{BB962C8B-B14F-4D97-AF65-F5344CB8AC3E}">
        <p14:creationId xmlns:p14="http://schemas.microsoft.com/office/powerpoint/2010/main" val="7307812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Arial" panose="020B0604020202020204" pitchFamily="34" charset="0"/>
              <a:cs typeface="Arial" panose="020B0604020202020204" pitchFamily="34" charset="0"/>
            </a:endParaRPr>
          </a:p>
        </p:txBody>
      </p:sp>
      <p:sp>
        <p:nvSpPr>
          <p:cNvPr id="2" name="Hộp Văn bản 1">
            <a:extLst>
              <a:ext uri="{FF2B5EF4-FFF2-40B4-BE49-F238E27FC236}">
                <a16:creationId xmlns:a16="http://schemas.microsoft.com/office/drawing/2014/main" id="{45BE9921-35AA-4150-BFB4-D62331CEB36D}"/>
              </a:ext>
            </a:extLst>
          </p:cNvPr>
          <p:cNvSpPr txBox="1"/>
          <p:nvPr/>
        </p:nvSpPr>
        <p:spPr>
          <a:xfrm>
            <a:off x="1124768" y="2062487"/>
            <a:ext cx="8398933" cy="4893647"/>
          </a:xfrm>
          <a:prstGeom prst="rect">
            <a:avLst/>
          </a:prstGeom>
          <a:noFill/>
        </p:spPr>
        <p:txBody>
          <a:bodyPr wrap="square" rtlCol="0">
            <a:spAutoFit/>
          </a:bodyPr>
          <a:lstStyle/>
          <a:p>
            <a:r>
              <a:rPr lang="vi-VN" sz="2400" u="sng">
                <a:latin typeface="Arial" panose="020B0604020202020204" pitchFamily="34" charset="0"/>
                <a:cs typeface="Arial" panose="020B0604020202020204" pitchFamily="34" charset="0"/>
              </a:rPr>
              <a:t>CT scan bụng</a:t>
            </a:r>
          </a:p>
          <a:p>
            <a:endParaRPr lang="vi-VN" sz="2400">
              <a:latin typeface="Arial" panose="020B0604020202020204" pitchFamily="34" charset="0"/>
              <a:cs typeface="Arial" panose="020B0604020202020204" pitchFamily="34" charset="0"/>
            </a:endParaRPr>
          </a:p>
          <a:p>
            <a:r>
              <a:rPr lang="vi-VN" sz="2400">
                <a:latin typeface="Arial" panose="020B0604020202020204" pitchFamily="34" charset="0"/>
                <a:cs typeface="Arial" panose="020B0604020202020204" pitchFamily="34" charset="0"/>
              </a:rPr>
              <a:t>Ung thư tá tràng: </a:t>
            </a:r>
          </a:p>
          <a:p>
            <a:r>
              <a:rPr lang="vi-VN" sz="2400">
                <a:latin typeface="Arial" panose="020B0604020202020204" pitchFamily="34" charset="0"/>
                <a:cs typeface="Arial" panose="020B0604020202020204" pitchFamily="34" charset="0"/>
              </a:rPr>
              <a:t>	Biểu hiện các dạng: </a:t>
            </a:r>
          </a:p>
          <a:p>
            <a:r>
              <a:rPr lang="vi-VN" sz="2400">
                <a:latin typeface="Arial" panose="020B0604020202020204" pitchFamily="34" charset="0"/>
                <a:cs typeface="Arial" panose="020B0604020202020204" pitchFamily="34" charset="0"/>
              </a:rPr>
              <a:t>	Dày thành không đều</a:t>
            </a:r>
          </a:p>
          <a:p>
            <a:r>
              <a:rPr lang="vi-VN" sz="2400">
                <a:latin typeface="Arial" panose="020B0604020202020204" pitchFamily="34" charset="0"/>
                <a:cs typeface="Arial" panose="020B0604020202020204" pitchFamily="34" charset="0"/>
              </a:rPr>
              <a:t>	Khối nhô vào lòng tá tràng</a:t>
            </a:r>
          </a:p>
          <a:p>
            <a:r>
              <a:rPr lang="vi-VN" sz="2400">
                <a:latin typeface="Arial" panose="020B0604020202020204" pitchFamily="34" charset="0"/>
                <a:cs typeface="Arial" panose="020B0604020202020204" pitchFamily="34" charset="0"/>
              </a:rPr>
              <a:t>	Hẹp lòng tá tràng dạng vòng nhẫn với bờ không đều</a:t>
            </a:r>
          </a:p>
          <a:p>
            <a:r>
              <a:rPr lang="vi-VN" sz="2400">
                <a:latin typeface="Arial" panose="020B0604020202020204" pitchFamily="34" charset="0"/>
                <a:cs typeface="Arial" panose="020B0604020202020204" pitchFamily="34" charset="0"/>
              </a:rPr>
              <a:t>	Dạng loét </a:t>
            </a:r>
          </a:p>
          <a:p>
            <a:r>
              <a:rPr lang="vi-VN" sz="2400">
                <a:latin typeface="Arial" panose="020B0604020202020204" pitchFamily="34" charset="0"/>
                <a:cs typeface="Arial" panose="020B0604020202020204" pitchFamily="34" charset="0"/>
              </a:rPr>
              <a:t>	Có thể kèm dãn tá tràng và dạ dày</a:t>
            </a:r>
          </a:p>
          <a:p>
            <a:r>
              <a:rPr lang="vi-VN" sz="2400">
                <a:latin typeface="Arial" panose="020B0604020202020204" pitchFamily="34" charset="0"/>
                <a:cs typeface="Arial" panose="020B0604020202020204" pitchFamily="34" charset="0"/>
              </a:rPr>
              <a:t> </a:t>
            </a: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a:p>
            <a:endParaRPr lang="vi-VN" sz="2400">
              <a:latin typeface="Arial" panose="020B0604020202020204" pitchFamily="34" charset="0"/>
              <a:cs typeface="Arial" panose="020B0604020202020204" pitchFamily="34" charset="0"/>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r>
                <a:rPr lang="es-ES" sz="3200" b="1">
                  <a:latin typeface="Arial" panose="020B0604020202020204" pitchFamily="34" charset="0"/>
                  <a:ea typeface="Segoe UI Black" panose="020B0A02040204020203" pitchFamily="34" charset="0"/>
                  <a:cs typeface="Arial" panose="020B0604020202020204" pitchFamily="34" charset="0"/>
                </a:rPr>
                <a:t>1. Có u hay không, u cơ quan nào?</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cxnSp>
        <p:nvCxnSpPr>
          <p:cNvPr id="6" name="Đường nối Thẳng 5">
            <a:extLst>
              <a:ext uri="{FF2B5EF4-FFF2-40B4-BE49-F238E27FC236}">
                <a16:creationId xmlns:a16="http://schemas.microsoft.com/office/drawing/2014/main" id="{8734CA55-16D3-FFE7-DA93-1455347C358D}"/>
              </a:ext>
            </a:extLst>
          </p:cNvPr>
          <p:cNvCxnSpPr>
            <a:cxnSpLocks/>
          </p:cNvCxnSpPr>
          <p:nvPr/>
        </p:nvCxnSpPr>
        <p:spPr>
          <a:xfrm>
            <a:off x="851081" y="1878910"/>
            <a:ext cx="0" cy="3265714"/>
          </a:xfrm>
          <a:prstGeom prst="line">
            <a:avLst/>
          </a:prstGeom>
        </p:spPr>
        <p:style>
          <a:lnRef idx="1">
            <a:schemeClr val="accent2"/>
          </a:lnRef>
          <a:fillRef idx="0">
            <a:schemeClr val="accent2"/>
          </a:fillRef>
          <a:effectRef idx="0">
            <a:schemeClr val="accent2"/>
          </a:effectRef>
          <a:fontRef idx="minor">
            <a:schemeClr val="tx1"/>
          </a:fontRef>
        </p:style>
      </p:cxnSp>
      <p:sp>
        <p:nvSpPr>
          <p:cNvPr id="7" name="TextBox 116">
            <a:extLst>
              <a:ext uri="{FF2B5EF4-FFF2-40B4-BE49-F238E27FC236}">
                <a16:creationId xmlns:a16="http://schemas.microsoft.com/office/drawing/2014/main" id="{9CCAA2FD-B28C-EDA3-67F3-DAF749279EF0}"/>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8" name="Tam giác Cân 7">
            <a:extLst>
              <a:ext uri="{FF2B5EF4-FFF2-40B4-BE49-F238E27FC236}">
                <a16:creationId xmlns:a16="http://schemas.microsoft.com/office/drawing/2014/main" id="{A39676C6-97B2-B93B-DF45-BA76FC9B824A}"/>
              </a:ext>
            </a:extLst>
          </p:cNvPr>
          <p:cNvSpPr/>
          <p:nvPr/>
        </p:nvSpPr>
        <p:spPr>
          <a:xfrm rot="5400000">
            <a:off x="846091" y="2874337"/>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10424090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25">
            <a:extLst>
              <a:ext uri="{FF2B5EF4-FFF2-40B4-BE49-F238E27FC236}">
                <a16:creationId xmlns:a16="http://schemas.microsoft.com/office/drawing/2014/main" id="{34DA4CC1-FD9F-A1D5-642A-F0E0BDF80DAF}"/>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8" name="Graphic 113">
            <a:extLst>
              <a:ext uri="{FF2B5EF4-FFF2-40B4-BE49-F238E27FC236}">
                <a16:creationId xmlns:a16="http://schemas.microsoft.com/office/drawing/2014/main" id="{D0B1F3F5-BBBC-3FB3-68B2-45CE0E8FF4CE}"/>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9" name="TextBox 102">
            <a:extLst>
              <a:ext uri="{FF2B5EF4-FFF2-40B4-BE49-F238E27FC236}">
                <a16:creationId xmlns:a16="http://schemas.microsoft.com/office/drawing/2014/main" id="{E4C1C6D0-74EE-80B6-8EEF-BEDD405164D3}"/>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pic>
        <p:nvPicPr>
          <p:cNvPr id="5" name="Hình ảnh 4">
            <a:extLst>
              <a:ext uri="{FF2B5EF4-FFF2-40B4-BE49-F238E27FC236}">
                <a16:creationId xmlns:a16="http://schemas.microsoft.com/office/drawing/2014/main" id="{72DD4089-AA9B-0906-10D5-57F5DE023E4E}"/>
              </a:ext>
            </a:extLst>
          </p:cNvPr>
          <p:cNvPicPr>
            <a:picLocks noChangeAspect="1"/>
          </p:cNvPicPr>
          <p:nvPr/>
        </p:nvPicPr>
        <p:blipFill>
          <a:blip r:embed="rId3"/>
          <a:stretch>
            <a:fillRect/>
          </a:stretch>
        </p:blipFill>
        <p:spPr>
          <a:xfrm>
            <a:off x="1727300" y="1691641"/>
            <a:ext cx="8737399" cy="4069232"/>
          </a:xfrm>
          <a:prstGeom prst="rect">
            <a:avLst/>
          </a:prstGeom>
        </p:spPr>
      </p:pic>
      <p:sp>
        <p:nvSpPr>
          <p:cNvPr id="7" name="Hộp Văn bản 6">
            <a:extLst>
              <a:ext uri="{FF2B5EF4-FFF2-40B4-BE49-F238E27FC236}">
                <a16:creationId xmlns:a16="http://schemas.microsoft.com/office/drawing/2014/main" id="{66B13673-697A-BE25-7BFC-039F79212C36}"/>
              </a:ext>
            </a:extLst>
          </p:cNvPr>
          <p:cNvSpPr txBox="1"/>
          <p:nvPr/>
        </p:nvSpPr>
        <p:spPr>
          <a:xfrm>
            <a:off x="1826271" y="6112528"/>
            <a:ext cx="8638428" cy="400110"/>
          </a:xfrm>
          <a:prstGeom prst="rect">
            <a:avLst/>
          </a:prstGeom>
          <a:noFill/>
        </p:spPr>
        <p:txBody>
          <a:bodyPr wrap="square">
            <a:spAutoFit/>
          </a:bodyPr>
          <a:lstStyle/>
          <a:p>
            <a:r>
              <a:rPr lang="en-US" sz="1000"/>
              <a:t>Nikolaidis, P., Hammond, N. A., Day, K., Yaghmai, V., Wood, C. G., Mosbach, D. S., … Miller, F. H. (2014). Imaging Features of Benign and Malignant Ampullary and Periampullary Lesions. RadioGraphics, 34(3), 624–641.</a:t>
            </a:r>
            <a:endParaRPr lang="vi-VN" sz="1000"/>
          </a:p>
        </p:txBody>
      </p:sp>
    </p:spTree>
    <p:extLst>
      <p:ext uri="{BB962C8B-B14F-4D97-AF65-F5344CB8AC3E}">
        <p14:creationId xmlns:p14="http://schemas.microsoft.com/office/powerpoint/2010/main" val="19223600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ộp Văn bản 1">
            <a:extLst>
              <a:ext uri="{FF2B5EF4-FFF2-40B4-BE49-F238E27FC236}">
                <a16:creationId xmlns:a16="http://schemas.microsoft.com/office/drawing/2014/main" id="{45BE9921-35AA-4150-BFB4-D62331CEB36D}"/>
              </a:ext>
            </a:extLst>
          </p:cNvPr>
          <p:cNvSpPr txBox="1"/>
          <p:nvPr/>
        </p:nvSpPr>
        <p:spPr>
          <a:xfrm>
            <a:off x="1124768" y="2062487"/>
            <a:ext cx="10488112" cy="3046988"/>
          </a:xfrm>
          <a:prstGeom prst="rect">
            <a:avLst/>
          </a:prstGeom>
          <a:solidFill>
            <a:schemeClr val="bg1">
              <a:lumMod val="95000"/>
              <a:alpha val="50000"/>
            </a:schemeClr>
          </a:solidFill>
        </p:spPr>
        <p:txBody>
          <a:bodyPr wrap="square" rtlCol="0">
            <a:spAutoFit/>
          </a:bodyPr>
          <a:lstStyle/>
          <a:p>
            <a:r>
              <a:rPr lang="vi-VN" sz="2400" u="sng">
                <a:latin typeface="Arial" panose="020B0604020202020204" pitchFamily="34" charset="0"/>
                <a:cs typeface="Arial" panose="020B0604020202020204" pitchFamily="34" charset="0"/>
              </a:rPr>
              <a:t>MRI</a:t>
            </a:r>
            <a:r>
              <a:rPr lang="en-US" sz="2400" u="sng">
                <a:latin typeface="Arial" panose="020B0604020202020204" pitchFamily="34" charset="0"/>
                <a:cs typeface="Arial" panose="020B0604020202020204" pitchFamily="34" charset="0"/>
              </a:rPr>
              <a:t> và MRCP</a:t>
            </a:r>
            <a:r>
              <a:rPr lang="vi-VN" sz="2400" u="sng">
                <a:latin typeface="Arial" panose="020B0604020202020204" pitchFamily="34" charset="0"/>
                <a:cs typeface="Arial" panose="020B0604020202020204" pitchFamily="34" charset="0"/>
              </a:rPr>
              <a:t>:</a:t>
            </a:r>
          </a:p>
          <a:p>
            <a:endParaRPr lang="vi-VN" sz="2400">
              <a:latin typeface="Arial" panose="020B0604020202020204" pitchFamily="34" charset="0"/>
              <a:cs typeface="Arial" panose="020B0604020202020204" pitchFamily="34" charset="0"/>
            </a:endParaRPr>
          </a:p>
          <a:p>
            <a:pPr marL="285750" indent="-285750">
              <a:buFontTx/>
              <a:buChar char="-"/>
            </a:pPr>
            <a:r>
              <a:rPr lang="vi-VN" sz="2400">
                <a:latin typeface="Arial" panose="020B0604020202020204" pitchFamily="34" charset="0"/>
                <a:cs typeface="Arial" panose="020B0604020202020204" pitchFamily="34" charset="0"/>
              </a:rPr>
              <a:t>Độ nhạy 86% trong u quanh bóng vater [1]</a:t>
            </a:r>
          </a:p>
          <a:p>
            <a:pPr marL="285750" indent="-285750">
              <a:buFontTx/>
              <a:buChar char="-"/>
            </a:pPr>
            <a:r>
              <a:rPr lang="vi-VN" sz="2400">
                <a:latin typeface="Arial" panose="020B0604020202020204" pitchFamily="34" charset="0"/>
                <a:cs typeface="Arial" panose="020B0604020202020204" pitchFamily="34" charset="0"/>
              </a:rPr>
              <a:t>Hữu ích trong việc phát hiện u đoạn cuối OMC </a:t>
            </a:r>
          </a:p>
          <a:p>
            <a:pPr marL="285750" indent="-285750">
              <a:buFontTx/>
              <a:buChar char="-"/>
            </a:pPr>
            <a:r>
              <a:rPr lang="vi-VN" sz="2400">
                <a:latin typeface="Arial" panose="020B0604020202020204" pitchFamily="34" charset="0"/>
                <a:cs typeface="Arial" panose="020B0604020202020204" pitchFamily="34" charset="0"/>
              </a:rPr>
              <a:t>Khảo sát đường mật và ống tụy </a:t>
            </a:r>
          </a:p>
          <a:p>
            <a:pPr marL="285750" indent="-285750">
              <a:buFontTx/>
              <a:buChar char="-"/>
            </a:pPr>
            <a:r>
              <a:rPr lang="vi-VN" sz="2400">
                <a:latin typeface="Arial" panose="020B0604020202020204" pitchFamily="34" charset="0"/>
                <a:cs typeface="Arial" panose="020B0604020202020204" pitchFamily="34" charset="0"/>
              </a:rPr>
              <a:t>Phân biệt tổn thương lành và ác tốt hơn CT</a:t>
            </a:r>
          </a:p>
          <a:p>
            <a:pPr marL="285750" indent="-285750">
              <a:buFontTx/>
              <a:buChar char="-"/>
            </a:pPr>
            <a:r>
              <a:rPr lang="vi-VN" sz="2400">
                <a:latin typeface="Arial" panose="020B0604020202020204" pitchFamily="34" charset="0"/>
                <a:cs typeface="Arial" panose="020B0604020202020204" pitchFamily="34" charset="0"/>
              </a:rPr>
              <a:t>Nhược điểm: chi phí, tính sẵn có</a:t>
            </a:r>
          </a:p>
          <a:p>
            <a:pPr marL="285750" indent="-285750">
              <a:buFontTx/>
              <a:buChar char="-"/>
            </a:pPr>
            <a:r>
              <a:rPr lang="vi-VN" sz="2400">
                <a:latin typeface="Arial" panose="020B0604020202020204" pitchFamily="34" charset="0"/>
                <a:cs typeface="Arial" panose="020B0604020202020204" pitchFamily="34" charset="0"/>
              </a:rPr>
              <a:t>Là phương tiện tiếp theo được sử dụng khi CT không phát hiện</a:t>
            </a:r>
            <a:endParaRPr kumimoji="0" lang="vi-VN"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1. Có u hay không, u cơ quan nào?</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cxnSp>
        <p:nvCxnSpPr>
          <p:cNvPr id="6" name="Đường nối Thẳng 5">
            <a:extLst>
              <a:ext uri="{FF2B5EF4-FFF2-40B4-BE49-F238E27FC236}">
                <a16:creationId xmlns:a16="http://schemas.microsoft.com/office/drawing/2014/main" id="{8734CA55-16D3-FFE7-DA93-1455347C358D}"/>
              </a:ext>
            </a:extLst>
          </p:cNvPr>
          <p:cNvCxnSpPr>
            <a:cxnSpLocks/>
          </p:cNvCxnSpPr>
          <p:nvPr/>
        </p:nvCxnSpPr>
        <p:spPr>
          <a:xfrm>
            <a:off x="851081" y="1878910"/>
            <a:ext cx="0" cy="3265714"/>
          </a:xfrm>
          <a:prstGeom prst="line">
            <a:avLst/>
          </a:prstGeom>
        </p:spPr>
        <p:style>
          <a:lnRef idx="1">
            <a:schemeClr val="accent2"/>
          </a:lnRef>
          <a:fillRef idx="0">
            <a:schemeClr val="accent2"/>
          </a:fillRef>
          <a:effectRef idx="0">
            <a:schemeClr val="accent2"/>
          </a:effectRef>
          <a:fontRef idx="minor">
            <a:schemeClr val="tx1"/>
          </a:fontRef>
        </p:style>
      </p:cxnSp>
      <p:sp>
        <p:nvSpPr>
          <p:cNvPr id="7" name="TextBox 116">
            <a:extLst>
              <a:ext uri="{FF2B5EF4-FFF2-40B4-BE49-F238E27FC236}">
                <a16:creationId xmlns:a16="http://schemas.microsoft.com/office/drawing/2014/main" id="{9CCAA2FD-B28C-EDA3-67F3-DAF749279EF0}"/>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Hộp Văn bản 8">
            <a:extLst>
              <a:ext uri="{FF2B5EF4-FFF2-40B4-BE49-F238E27FC236}">
                <a16:creationId xmlns:a16="http://schemas.microsoft.com/office/drawing/2014/main" id="{A735DC49-4D89-14BB-7166-F8E4741B96EE}"/>
              </a:ext>
            </a:extLst>
          </p:cNvPr>
          <p:cNvSpPr txBox="1"/>
          <p:nvPr/>
        </p:nvSpPr>
        <p:spPr>
          <a:xfrm>
            <a:off x="1522259" y="6205860"/>
            <a:ext cx="10307862" cy="246221"/>
          </a:xfrm>
          <a:prstGeom prst="rect">
            <a:avLst/>
          </a:prstGeom>
          <a:noFill/>
        </p:spPr>
        <p:txBody>
          <a:bodyPr wrap="square">
            <a:spAutoFit/>
          </a:bodyPr>
          <a:lstStyle/>
          <a:p>
            <a:r>
              <a:rPr lang="en-US" sz="1000"/>
              <a:t>[1] Phan Minh Trí. Ung thư quanh bóng vater. Bệnh học Ngoại khoa Tiêu hóa. 2021</a:t>
            </a:r>
            <a:endParaRPr lang="vi-VN" sz="1000"/>
          </a:p>
        </p:txBody>
      </p:sp>
    </p:spTree>
    <p:extLst>
      <p:ext uri="{BB962C8B-B14F-4D97-AF65-F5344CB8AC3E}">
        <p14:creationId xmlns:p14="http://schemas.microsoft.com/office/powerpoint/2010/main" val="17954470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25">
            <a:extLst>
              <a:ext uri="{FF2B5EF4-FFF2-40B4-BE49-F238E27FC236}">
                <a16:creationId xmlns:a16="http://schemas.microsoft.com/office/drawing/2014/main" id="{43C3A443-EEDA-0CFB-E9E2-617178B0EB3B}"/>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9" name="Graphic 113">
            <a:extLst>
              <a:ext uri="{FF2B5EF4-FFF2-40B4-BE49-F238E27FC236}">
                <a16:creationId xmlns:a16="http://schemas.microsoft.com/office/drawing/2014/main" id="{675373D6-DC12-F605-3061-F0149EA12098}"/>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 name="TextBox 102">
            <a:extLst>
              <a:ext uri="{FF2B5EF4-FFF2-40B4-BE49-F238E27FC236}">
                <a16:creationId xmlns:a16="http://schemas.microsoft.com/office/drawing/2014/main" id="{3A2FA7D8-69C6-B04D-664B-427A7ADECB82}"/>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8" name="Hộp Văn bản 7">
            <a:extLst>
              <a:ext uri="{FF2B5EF4-FFF2-40B4-BE49-F238E27FC236}">
                <a16:creationId xmlns:a16="http://schemas.microsoft.com/office/drawing/2014/main" id="{615A9090-11A5-9805-92F2-60BD6A2B7E56}"/>
              </a:ext>
            </a:extLst>
          </p:cNvPr>
          <p:cNvSpPr txBox="1"/>
          <p:nvPr/>
        </p:nvSpPr>
        <p:spPr>
          <a:xfrm>
            <a:off x="1152525" y="5878573"/>
            <a:ext cx="9886950" cy="430887"/>
          </a:xfrm>
          <a:prstGeom prst="rect">
            <a:avLst/>
          </a:prstGeom>
          <a:noFill/>
        </p:spPr>
        <p:txBody>
          <a:bodyPr wrap="square">
            <a:spAutoFit/>
          </a:bodyPr>
          <a:lstStyle/>
          <a:p>
            <a:r>
              <a:rPr lang="en-US" sz="1100"/>
              <a:t>Nikolaidis, P., Hammond, N. A., Day, K., Yaghmai, V., Wood, C. G., Mosbach, D. S., … Miller, F. H. (2014). Imaging Features of Benign and Malignant Ampullary and Periampullary Lesions. RadioGraphics, 34(3), 624–641.</a:t>
            </a:r>
            <a:endParaRPr lang="vi-VN" sz="1100"/>
          </a:p>
        </p:txBody>
      </p:sp>
      <p:grpSp>
        <p:nvGrpSpPr>
          <p:cNvPr id="11" name="Nhóm 10">
            <a:extLst>
              <a:ext uri="{FF2B5EF4-FFF2-40B4-BE49-F238E27FC236}">
                <a16:creationId xmlns:a16="http://schemas.microsoft.com/office/drawing/2014/main" id="{22753A79-8906-C103-A6B1-BF6045956F49}"/>
              </a:ext>
            </a:extLst>
          </p:cNvPr>
          <p:cNvGrpSpPr/>
          <p:nvPr/>
        </p:nvGrpSpPr>
        <p:grpSpPr>
          <a:xfrm>
            <a:off x="1152525" y="1850765"/>
            <a:ext cx="9503923" cy="3033023"/>
            <a:chOff x="650011" y="1885210"/>
            <a:chExt cx="9503923" cy="3033023"/>
          </a:xfrm>
        </p:grpSpPr>
        <p:pic>
          <p:nvPicPr>
            <p:cNvPr id="5" name="Hình ảnh 4">
              <a:extLst>
                <a:ext uri="{FF2B5EF4-FFF2-40B4-BE49-F238E27FC236}">
                  <a16:creationId xmlns:a16="http://schemas.microsoft.com/office/drawing/2014/main" id="{E600EDF4-96D2-3299-B8D6-DDA8655CC05B}"/>
                </a:ext>
              </a:extLst>
            </p:cNvPr>
            <p:cNvPicPr>
              <a:picLocks noChangeAspect="1"/>
            </p:cNvPicPr>
            <p:nvPr/>
          </p:nvPicPr>
          <p:blipFill>
            <a:blip r:embed="rId3"/>
            <a:stretch>
              <a:fillRect/>
            </a:stretch>
          </p:blipFill>
          <p:spPr>
            <a:xfrm>
              <a:off x="650011" y="1885210"/>
              <a:ext cx="6256562" cy="3033023"/>
            </a:xfrm>
            <a:prstGeom prst="rect">
              <a:avLst/>
            </a:prstGeom>
          </p:spPr>
        </p:pic>
        <p:pic>
          <p:nvPicPr>
            <p:cNvPr id="7" name="Hình ảnh 6">
              <a:extLst>
                <a:ext uri="{FF2B5EF4-FFF2-40B4-BE49-F238E27FC236}">
                  <a16:creationId xmlns:a16="http://schemas.microsoft.com/office/drawing/2014/main" id="{A2EB975E-8FCF-11A8-0BFA-3CC172FA737D}"/>
                </a:ext>
              </a:extLst>
            </p:cNvPr>
            <p:cNvPicPr>
              <a:picLocks noChangeAspect="1"/>
            </p:cNvPicPr>
            <p:nvPr/>
          </p:nvPicPr>
          <p:blipFill>
            <a:blip r:embed="rId4"/>
            <a:stretch>
              <a:fillRect/>
            </a:stretch>
          </p:blipFill>
          <p:spPr>
            <a:xfrm>
              <a:off x="6906573" y="1885210"/>
              <a:ext cx="3247361" cy="3033023"/>
            </a:xfrm>
            <a:prstGeom prst="rect">
              <a:avLst/>
            </a:prstGeom>
          </p:spPr>
        </p:pic>
      </p:grpSp>
    </p:spTree>
    <p:extLst>
      <p:ext uri="{BB962C8B-B14F-4D97-AF65-F5344CB8AC3E}">
        <p14:creationId xmlns:p14="http://schemas.microsoft.com/office/powerpoint/2010/main" val="40470655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Hộp Văn bản 1">
            <a:extLst>
              <a:ext uri="{FF2B5EF4-FFF2-40B4-BE49-F238E27FC236}">
                <a16:creationId xmlns:a16="http://schemas.microsoft.com/office/drawing/2014/main" id="{45BE9921-35AA-4150-BFB4-D62331CEB36D}"/>
              </a:ext>
            </a:extLst>
          </p:cNvPr>
          <p:cNvSpPr txBox="1"/>
          <p:nvPr/>
        </p:nvSpPr>
        <p:spPr>
          <a:xfrm>
            <a:off x="1124768" y="2062487"/>
            <a:ext cx="9557087" cy="3785652"/>
          </a:xfrm>
          <a:prstGeom prst="rect">
            <a:avLst/>
          </a:prstGeom>
          <a:solidFill>
            <a:schemeClr val="bg1">
              <a:lumMod val="95000"/>
              <a:alpha val="50000"/>
            </a:schemeClr>
          </a:solidFill>
        </p:spPr>
        <p:txBody>
          <a:bodyPr wrap="square" rtlCol="0">
            <a:spAutoFit/>
          </a:bodyPr>
          <a:lstStyle/>
          <a:p>
            <a:r>
              <a:rPr lang="vi-VN" sz="2400" u="sng" dirty="0">
                <a:latin typeface="Arial (Body)"/>
              </a:rPr>
              <a:t>ERCP</a:t>
            </a:r>
            <a:r>
              <a:rPr lang="vi-VN" sz="2400" dirty="0">
                <a:latin typeface="Arial (Body)"/>
              </a:rPr>
              <a:t>: </a:t>
            </a:r>
          </a:p>
          <a:p>
            <a:pPr marL="285750" indent="-285750">
              <a:buFontTx/>
              <a:buChar char="-"/>
            </a:pPr>
            <a:r>
              <a:rPr lang="en-US" sz="2400" dirty="0" err="1">
                <a:latin typeface="Arial (Body)"/>
              </a:rPr>
              <a:t>Có</a:t>
            </a:r>
            <a:r>
              <a:rPr lang="en-US" sz="2400" dirty="0">
                <a:latin typeface="Arial (Body)"/>
              </a:rPr>
              <a:t> </a:t>
            </a:r>
            <a:r>
              <a:rPr lang="en-US" sz="2400" dirty="0" err="1">
                <a:latin typeface="Arial (Body)"/>
              </a:rPr>
              <a:t>thể</a:t>
            </a:r>
            <a:r>
              <a:rPr lang="en-US" sz="2400" dirty="0">
                <a:latin typeface="Arial (Body)"/>
              </a:rPr>
              <a:t> </a:t>
            </a:r>
            <a:r>
              <a:rPr lang="en-US" sz="2400" dirty="0" err="1">
                <a:latin typeface="Arial (Body)"/>
              </a:rPr>
              <a:t>phát</a:t>
            </a:r>
            <a:r>
              <a:rPr lang="en-US" sz="2400" dirty="0">
                <a:latin typeface="Arial (Body)"/>
              </a:rPr>
              <a:t> </a:t>
            </a:r>
            <a:r>
              <a:rPr lang="en-US" sz="2400" dirty="0" err="1">
                <a:latin typeface="Arial (Body)"/>
              </a:rPr>
              <a:t>hiện</a:t>
            </a:r>
            <a:r>
              <a:rPr lang="en-US" sz="2400" dirty="0">
                <a:latin typeface="Arial (Body)"/>
              </a:rPr>
              <a:t> u </a:t>
            </a:r>
            <a:r>
              <a:rPr lang="en-US" sz="2400" dirty="0" err="1">
                <a:latin typeface="Arial (Body)"/>
              </a:rPr>
              <a:t>trong</a:t>
            </a:r>
            <a:r>
              <a:rPr lang="en-US" sz="2400" dirty="0">
                <a:latin typeface="Arial (Body)"/>
              </a:rPr>
              <a:t> </a:t>
            </a:r>
            <a:r>
              <a:rPr lang="en-US" sz="2400" dirty="0" err="1">
                <a:latin typeface="Arial (Body)"/>
              </a:rPr>
              <a:t>trường</a:t>
            </a:r>
            <a:r>
              <a:rPr lang="en-US" sz="2400" dirty="0">
                <a:latin typeface="Arial (Body)"/>
              </a:rPr>
              <a:t> </a:t>
            </a:r>
            <a:r>
              <a:rPr lang="en-US" sz="2400" dirty="0" err="1">
                <a:latin typeface="Arial (Body)"/>
              </a:rPr>
              <a:t>hợp</a:t>
            </a:r>
            <a:r>
              <a:rPr lang="en-US" sz="2400" dirty="0">
                <a:latin typeface="Arial (Body)"/>
              </a:rPr>
              <a:t> </a:t>
            </a:r>
            <a:r>
              <a:rPr lang="en-US" sz="2400" dirty="0" err="1">
                <a:latin typeface="Arial (Body)"/>
              </a:rPr>
              <a:t>nghi</a:t>
            </a:r>
            <a:r>
              <a:rPr lang="en-US" sz="2400" dirty="0">
                <a:latin typeface="Arial (Body)"/>
              </a:rPr>
              <a:t> </a:t>
            </a:r>
            <a:r>
              <a:rPr lang="en-US" sz="2400" dirty="0" err="1">
                <a:latin typeface="Arial (Body)"/>
              </a:rPr>
              <a:t>ngờ</a:t>
            </a:r>
            <a:r>
              <a:rPr lang="en-US" sz="2400" dirty="0">
                <a:latin typeface="Arial (Body)"/>
              </a:rPr>
              <a:t> </a:t>
            </a:r>
            <a:r>
              <a:rPr lang="en-US" sz="2400" dirty="0" err="1">
                <a:latin typeface="Arial (Body)"/>
              </a:rPr>
              <a:t>nhưng</a:t>
            </a:r>
            <a:r>
              <a:rPr lang="en-US" sz="2400" dirty="0">
                <a:latin typeface="Arial (Body)"/>
              </a:rPr>
              <a:t> </a:t>
            </a:r>
            <a:r>
              <a:rPr lang="en-US" sz="2400" dirty="0" err="1">
                <a:latin typeface="Arial (Body)"/>
              </a:rPr>
              <a:t>không</a:t>
            </a:r>
            <a:r>
              <a:rPr lang="en-US" sz="2400" dirty="0">
                <a:latin typeface="Arial (Body)"/>
              </a:rPr>
              <a:t> </a:t>
            </a:r>
            <a:r>
              <a:rPr lang="en-US" sz="2400" dirty="0" err="1">
                <a:latin typeface="Arial (Body)"/>
              </a:rPr>
              <a:t>thấy</a:t>
            </a:r>
            <a:r>
              <a:rPr lang="en-US" sz="2400" dirty="0">
                <a:latin typeface="Arial (Body)"/>
              </a:rPr>
              <a:t> </a:t>
            </a:r>
            <a:r>
              <a:rPr lang="en-US" sz="2400" dirty="0" err="1">
                <a:latin typeface="Arial (Body)"/>
              </a:rPr>
              <a:t>trên</a:t>
            </a:r>
            <a:r>
              <a:rPr lang="en-US" sz="2400" dirty="0">
                <a:latin typeface="Arial (Body)"/>
              </a:rPr>
              <a:t> CT </a:t>
            </a:r>
            <a:r>
              <a:rPr lang="en-US" sz="2400" dirty="0" err="1">
                <a:latin typeface="Arial (Body)"/>
              </a:rPr>
              <a:t>và</a:t>
            </a:r>
            <a:r>
              <a:rPr lang="en-US" sz="2400" dirty="0">
                <a:latin typeface="Arial (Body)"/>
              </a:rPr>
              <a:t> MRI </a:t>
            </a:r>
          </a:p>
          <a:p>
            <a:pPr marL="285750" indent="-285750">
              <a:buFontTx/>
              <a:buChar char="-"/>
            </a:pPr>
            <a:r>
              <a:rPr lang="en-US" sz="2400" dirty="0" err="1">
                <a:latin typeface="Arial (Body)"/>
              </a:rPr>
              <a:t>Độ</a:t>
            </a:r>
            <a:r>
              <a:rPr lang="en-US" sz="2400" dirty="0">
                <a:latin typeface="Arial (Body)"/>
              </a:rPr>
              <a:t> </a:t>
            </a:r>
            <a:r>
              <a:rPr lang="en-US" sz="2400" dirty="0" err="1">
                <a:latin typeface="Arial (Body)"/>
              </a:rPr>
              <a:t>nhạy</a:t>
            </a:r>
            <a:r>
              <a:rPr lang="en-US" sz="2400" dirty="0">
                <a:latin typeface="Arial (Body)"/>
              </a:rPr>
              <a:t>: 92%, </a:t>
            </a:r>
            <a:r>
              <a:rPr lang="en-US" sz="2400" dirty="0" err="1">
                <a:latin typeface="Arial (Body)"/>
              </a:rPr>
              <a:t>độ</a:t>
            </a:r>
            <a:r>
              <a:rPr lang="en-US" sz="2400" dirty="0">
                <a:latin typeface="Arial (Body)"/>
              </a:rPr>
              <a:t> </a:t>
            </a:r>
            <a:r>
              <a:rPr lang="en-US" sz="2400" dirty="0" err="1">
                <a:latin typeface="Arial (Body)"/>
              </a:rPr>
              <a:t>đặc</a:t>
            </a:r>
            <a:r>
              <a:rPr lang="en-US" sz="2400" dirty="0">
                <a:latin typeface="Arial (Body)"/>
              </a:rPr>
              <a:t> </a:t>
            </a:r>
            <a:r>
              <a:rPr lang="en-US" sz="2400" dirty="0" err="1">
                <a:latin typeface="Arial (Body)"/>
              </a:rPr>
              <a:t>hiệu</a:t>
            </a:r>
            <a:r>
              <a:rPr lang="en-US" sz="2400" dirty="0">
                <a:latin typeface="Arial (Body)"/>
              </a:rPr>
              <a:t>: 96% </a:t>
            </a:r>
            <a:r>
              <a:rPr lang="en-US" sz="2400" dirty="0" err="1">
                <a:latin typeface="Arial (Body)"/>
              </a:rPr>
              <a:t>trong</a:t>
            </a:r>
            <a:r>
              <a:rPr lang="en-US" sz="2400" dirty="0">
                <a:latin typeface="Arial (Body)"/>
              </a:rPr>
              <a:t> </a:t>
            </a:r>
            <a:r>
              <a:rPr lang="en-US" sz="2400" dirty="0" err="1">
                <a:latin typeface="Arial (Body)"/>
              </a:rPr>
              <a:t>ung</a:t>
            </a:r>
            <a:r>
              <a:rPr lang="en-US" sz="2400" dirty="0">
                <a:latin typeface="Arial (Body)"/>
              </a:rPr>
              <a:t> </a:t>
            </a:r>
            <a:r>
              <a:rPr lang="en-US" sz="2400" dirty="0" err="1">
                <a:latin typeface="Arial (Body)"/>
              </a:rPr>
              <a:t>thư</a:t>
            </a:r>
            <a:r>
              <a:rPr lang="en-US" sz="2400" dirty="0">
                <a:latin typeface="Arial (Body)"/>
              </a:rPr>
              <a:t> </a:t>
            </a:r>
            <a:r>
              <a:rPr lang="en-US" sz="2400" dirty="0" err="1">
                <a:latin typeface="Arial (Body)"/>
              </a:rPr>
              <a:t>tụy</a:t>
            </a:r>
            <a:r>
              <a:rPr lang="en-US" sz="2400" dirty="0">
                <a:latin typeface="Arial (Body)"/>
              </a:rPr>
              <a:t> [1] </a:t>
            </a:r>
          </a:p>
          <a:p>
            <a:pPr marL="285750" indent="-285750">
              <a:buFontTx/>
              <a:buChar char="-"/>
            </a:pPr>
            <a:r>
              <a:rPr lang="en-US" sz="2400" dirty="0" err="1">
                <a:latin typeface="Arial (Body)"/>
              </a:rPr>
              <a:t>Dấu</a:t>
            </a:r>
            <a:r>
              <a:rPr lang="en-US" sz="2400" dirty="0">
                <a:latin typeface="Arial (Body)"/>
              </a:rPr>
              <a:t> </a:t>
            </a:r>
            <a:r>
              <a:rPr lang="en-US" sz="2400" dirty="0" err="1">
                <a:latin typeface="Arial (Body)"/>
              </a:rPr>
              <a:t>hiệu</a:t>
            </a:r>
            <a:r>
              <a:rPr lang="en-US" sz="2400" dirty="0">
                <a:latin typeface="Arial (Body)"/>
              </a:rPr>
              <a:t>: </a:t>
            </a:r>
            <a:r>
              <a:rPr lang="en-US" sz="2400" dirty="0" err="1">
                <a:latin typeface="Arial (Body)"/>
              </a:rPr>
              <a:t>chít</a:t>
            </a:r>
            <a:r>
              <a:rPr lang="en-US" sz="2400" dirty="0">
                <a:latin typeface="Arial (Body)"/>
              </a:rPr>
              <a:t> </a:t>
            </a:r>
            <a:r>
              <a:rPr lang="en-US" sz="2400" dirty="0" err="1">
                <a:latin typeface="Arial (Body)"/>
              </a:rPr>
              <a:t>hẹp</a:t>
            </a:r>
            <a:r>
              <a:rPr lang="en-US" sz="2400" dirty="0">
                <a:latin typeface="Arial (Body)"/>
              </a:rPr>
              <a:t> </a:t>
            </a:r>
            <a:r>
              <a:rPr lang="en-US" sz="2400" dirty="0" err="1">
                <a:latin typeface="Arial (Body)"/>
              </a:rPr>
              <a:t>bất</a:t>
            </a:r>
            <a:r>
              <a:rPr lang="en-US" sz="2400" dirty="0">
                <a:latin typeface="Arial (Body)"/>
              </a:rPr>
              <a:t> </a:t>
            </a:r>
            <a:r>
              <a:rPr lang="en-US" sz="2400" dirty="0" err="1">
                <a:latin typeface="Arial (Body)"/>
              </a:rPr>
              <a:t>thường</a:t>
            </a:r>
            <a:r>
              <a:rPr lang="en-US" sz="2400" dirty="0">
                <a:latin typeface="Arial (Body)"/>
              </a:rPr>
              <a:t> </a:t>
            </a:r>
            <a:r>
              <a:rPr lang="en-US" sz="2400" dirty="0" err="1">
                <a:latin typeface="Arial (Body)"/>
              </a:rPr>
              <a:t>và</a:t>
            </a:r>
            <a:r>
              <a:rPr lang="en-US" sz="2400" dirty="0">
                <a:latin typeface="Arial (Body)"/>
              </a:rPr>
              <a:t> </a:t>
            </a:r>
            <a:r>
              <a:rPr lang="en-US" sz="2400" dirty="0" err="1">
                <a:latin typeface="Arial (Body)"/>
              </a:rPr>
              <a:t>dãn</a:t>
            </a:r>
            <a:r>
              <a:rPr lang="en-US" sz="2400" dirty="0">
                <a:latin typeface="Arial (Body)"/>
              </a:rPr>
              <a:t> </a:t>
            </a:r>
            <a:r>
              <a:rPr lang="en-US" sz="2400" dirty="0" err="1">
                <a:latin typeface="Arial (Body)"/>
              </a:rPr>
              <a:t>ở</a:t>
            </a:r>
            <a:r>
              <a:rPr lang="en-US" sz="2400" dirty="0">
                <a:latin typeface="Arial (Body)"/>
              </a:rPr>
              <a:t> </a:t>
            </a:r>
            <a:r>
              <a:rPr lang="en-US" sz="2400" dirty="0" err="1">
                <a:latin typeface="Arial (Body)"/>
              </a:rPr>
              <a:t>phần</a:t>
            </a:r>
            <a:r>
              <a:rPr lang="en-US" sz="2400" dirty="0">
                <a:latin typeface="Arial (Body)"/>
              </a:rPr>
              <a:t> </a:t>
            </a:r>
            <a:r>
              <a:rPr lang="en-US" sz="2400" dirty="0" err="1">
                <a:latin typeface="Arial (Body)"/>
              </a:rPr>
              <a:t>xa</a:t>
            </a:r>
            <a:r>
              <a:rPr lang="en-US" sz="2400" dirty="0">
                <a:latin typeface="Arial (Body)"/>
              </a:rPr>
              <a:t> </a:t>
            </a:r>
            <a:r>
              <a:rPr lang="en-US" sz="2400" dirty="0" err="1">
                <a:latin typeface="Arial (Body)"/>
              </a:rPr>
              <a:t>của</a:t>
            </a:r>
            <a:r>
              <a:rPr lang="en-US" sz="2400" dirty="0">
                <a:latin typeface="Arial (Body)"/>
              </a:rPr>
              <a:t> </a:t>
            </a:r>
            <a:r>
              <a:rPr lang="en-US" sz="2400" dirty="0" err="1">
                <a:latin typeface="Arial (Body)"/>
              </a:rPr>
              <a:t>ống</a:t>
            </a:r>
            <a:r>
              <a:rPr lang="en-US" sz="2400" dirty="0">
                <a:latin typeface="Arial (Body)"/>
              </a:rPr>
              <a:t> </a:t>
            </a:r>
            <a:r>
              <a:rPr lang="en-US" sz="2400" dirty="0" err="1">
                <a:latin typeface="Arial (Body)"/>
              </a:rPr>
              <a:t>tụy</a:t>
            </a:r>
            <a:r>
              <a:rPr lang="en-US" sz="2400" dirty="0">
                <a:latin typeface="Arial (Body)"/>
              </a:rPr>
              <a:t> hay OMC </a:t>
            </a:r>
          </a:p>
          <a:p>
            <a:pPr marL="285750" indent="-285750">
              <a:buFontTx/>
              <a:buChar char="-"/>
            </a:pPr>
            <a:r>
              <a:rPr lang="en-US" sz="2400" dirty="0" err="1">
                <a:latin typeface="Arial (Body)"/>
              </a:rPr>
              <a:t>Có</a:t>
            </a:r>
            <a:r>
              <a:rPr lang="en-US" sz="2400" dirty="0">
                <a:latin typeface="Arial (Body)"/>
              </a:rPr>
              <a:t> </a:t>
            </a:r>
            <a:r>
              <a:rPr lang="en-US" sz="2400" dirty="0" err="1">
                <a:latin typeface="Arial (Body)"/>
              </a:rPr>
              <a:t>thể</a:t>
            </a:r>
            <a:r>
              <a:rPr lang="en-US" sz="2400" dirty="0">
                <a:latin typeface="Arial (Body)"/>
              </a:rPr>
              <a:t> </a:t>
            </a:r>
            <a:r>
              <a:rPr lang="en-US" sz="2400" dirty="0" err="1">
                <a:latin typeface="Arial (Body)"/>
              </a:rPr>
              <a:t>lấy</a:t>
            </a:r>
            <a:r>
              <a:rPr lang="en-US" sz="2400" dirty="0">
                <a:latin typeface="Arial (Body)"/>
              </a:rPr>
              <a:t> </a:t>
            </a:r>
            <a:r>
              <a:rPr lang="en-US" sz="2400" dirty="0" err="1">
                <a:latin typeface="Arial (Body)"/>
              </a:rPr>
              <a:t>mẫu</a:t>
            </a:r>
            <a:r>
              <a:rPr lang="en-US" sz="2400" dirty="0">
                <a:latin typeface="Arial (Body)"/>
              </a:rPr>
              <a:t> </a:t>
            </a:r>
            <a:r>
              <a:rPr lang="en-US" sz="2400" dirty="0" err="1">
                <a:latin typeface="Arial (Body)"/>
              </a:rPr>
              <a:t>đánh</a:t>
            </a:r>
            <a:r>
              <a:rPr lang="en-US" sz="2400" dirty="0">
                <a:latin typeface="Arial (Body)"/>
              </a:rPr>
              <a:t> </a:t>
            </a:r>
            <a:r>
              <a:rPr lang="en-US" sz="2400" dirty="0" err="1">
                <a:latin typeface="Arial (Body)"/>
              </a:rPr>
              <a:t>giá</a:t>
            </a:r>
            <a:r>
              <a:rPr lang="en-US" sz="2400" dirty="0">
                <a:latin typeface="Arial (Body)"/>
              </a:rPr>
              <a:t> </a:t>
            </a:r>
            <a:r>
              <a:rPr lang="en-US" sz="2400" dirty="0" err="1">
                <a:latin typeface="Arial (Body)"/>
              </a:rPr>
              <a:t>bản</a:t>
            </a:r>
            <a:r>
              <a:rPr lang="en-US" sz="2400" dirty="0">
                <a:latin typeface="Arial (Body)"/>
              </a:rPr>
              <a:t> </a:t>
            </a:r>
            <a:r>
              <a:rPr lang="en-US" sz="2400" dirty="0" err="1">
                <a:latin typeface="Arial (Body)"/>
              </a:rPr>
              <a:t>chất</a:t>
            </a:r>
            <a:r>
              <a:rPr lang="en-US" sz="2400" dirty="0">
                <a:latin typeface="Arial (Body)"/>
              </a:rPr>
              <a:t> u</a:t>
            </a:r>
            <a:r>
              <a:rPr lang="vi-VN" sz="2400" dirty="0">
                <a:latin typeface="Arial (Body)"/>
              </a:rPr>
              <a:t> </a:t>
            </a:r>
          </a:p>
          <a:p>
            <a:pPr marL="285750" indent="-285750">
              <a:buFontTx/>
              <a:buChar char="-"/>
            </a:pPr>
            <a:r>
              <a:rPr lang="vi-VN" sz="2400" dirty="0">
                <a:latin typeface="Arial (Body)"/>
              </a:rPr>
              <a:t>Đặt stent giải áp đường mật</a:t>
            </a:r>
          </a:p>
          <a:p>
            <a:pPr marL="285750" indent="-285750">
              <a:buFontTx/>
              <a:buChar char="-"/>
            </a:pPr>
            <a:r>
              <a:rPr lang="vi-VN" sz="2400" dirty="0">
                <a:latin typeface="Arial (Body)"/>
              </a:rPr>
              <a:t>Là thủ thuật xâm lấn, tỷ lệ biến chứng 5-10% [2]</a:t>
            </a:r>
          </a:p>
          <a:p>
            <a:pPr marL="285750" indent="-285750">
              <a:buFontTx/>
              <a:buChar char="-"/>
            </a:pPr>
            <a:r>
              <a:rPr lang="vi-VN" sz="2400" dirty="0">
                <a:latin typeface="Arial (Body)"/>
              </a:rPr>
              <a:t>Không giúp đánh giá xâm lấn</a:t>
            </a:r>
          </a:p>
        </p:txBody>
      </p:sp>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1. Có u hay không, u cơ quan nào?</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cxnSp>
        <p:nvCxnSpPr>
          <p:cNvPr id="6" name="Đường nối Thẳng 5">
            <a:extLst>
              <a:ext uri="{FF2B5EF4-FFF2-40B4-BE49-F238E27FC236}">
                <a16:creationId xmlns:a16="http://schemas.microsoft.com/office/drawing/2014/main" id="{8734CA55-16D3-FFE7-DA93-1455347C358D}"/>
              </a:ext>
            </a:extLst>
          </p:cNvPr>
          <p:cNvCxnSpPr>
            <a:cxnSpLocks/>
          </p:cNvCxnSpPr>
          <p:nvPr/>
        </p:nvCxnSpPr>
        <p:spPr>
          <a:xfrm>
            <a:off x="851081" y="1878910"/>
            <a:ext cx="0" cy="3265714"/>
          </a:xfrm>
          <a:prstGeom prst="line">
            <a:avLst/>
          </a:prstGeom>
        </p:spPr>
        <p:style>
          <a:lnRef idx="1">
            <a:schemeClr val="accent2"/>
          </a:lnRef>
          <a:fillRef idx="0">
            <a:schemeClr val="accent2"/>
          </a:fillRef>
          <a:effectRef idx="0">
            <a:schemeClr val="accent2"/>
          </a:effectRef>
          <a:fontRef idx="minor">
            <a:schemeClr val="tx1"/>
          </a:fontRef>
        </p:style>
      </p:cxnSp>
      <p:sp>
        <p:nvSpPr>
          <p:cNvPr id="7" name="TextBox 116">
            <a:extLst>
              <a:ext uri="{FF2B5EF4-FFF2-40B4-BE49-F238E27FC236}">
                <a16:creationId xmlns:a16="http://schemas.microsoft.com/office/drawing/2014/main" id="{9CCAA2FD-B28C-EDA3-67F3-DAF749279EF0}"/>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Hộp Văn bản 8">
            <a:extLst>
              <a:ext uri="{FF2B5EF4-FFF2-40B4-BE49-F238E27FC236}">
                <a16:creationId xmlns:a16="http://schemas.microsoft.com/office/drawing/2014/main" id="{A735DC49-4D89-14BB-7166-F8E4741B96EE}"/>
              </a:ext>
            </a:extLst>
          </p:cNvPr>
          <p:cNvSpPr txBox="1"/>
          <p:nvPr/>
        </p:nvSpPr>
        <p:spPr>
          <a:xfrm>
            <a:off x="946478" y="5965172"/>
            <a:ext cx="10844691" cy="400110"/>
          </a:xfrm>
          <a:prstGeom prst="rect">
            <a:avLst/>
          </a:prstGeom>
          <a:noFill/>
        </p:spPr>
        <p:txBody>
          <a:bodyPr wrap="square">
            <a:spAutoFit/>
          </a:bodyPr>
          <a:lstStyle/>
          <a:p>
            <a:r>
              <a:rPr lang="vi-VN" sz="1000">
                <a:latin typeface="Roboto" panose="02000000000000000000" pitchFamily="2" charset="0"/>
              </a:rPr>
              <a:t>[1]</a:t>
            </a:r>
            <a:r>
              <a:rPr lang="en-US" sz="1000">
                <a:latin typeface="Roboto" panose="02000000000000000000" pitchFamily="2" charset="0"/>
              </a:rPr>
              <a:t> Carlos Castillo. </a:t>
            </a:r>
            <a:r>
              <a:rPr lang="en-US" sz="1000"/>
              <a:t>Clinical manifestations, diagnosis, and staging of exocrine pancreatic cancer. Uptodate 2022.</a:t>
            </a:r>
            <a:endParaRPr lang="vi-VN" sz="1000">
              <a:latin typeface="Roboto" panose="02000000000000000000" pitchFamily="2" charset="0"/>
            </a:endParaRPr>
          </a:p>
          <a:p>
            <a:r>
              <a:rPr lang="vi-VN" sz="1000">
                <a:latin typeface="Roboto" panose="02000000000000000000" pitchFamily="2" charset="0"/>
              </a:rPr>
              <a:t>[2] </a:t>
            </a:r>
            <a:r>
              <a:rPr lang="vi-VN" sz="1000" b="0" i="0">
                <a:effectLst/>
                <a:latin typeface="Roboto" panose="02000000000000000000" pitchFamily="2" charset="0"/>
              </a:rPr>
              <a:t>Szary NM, Al-Kawas FH. Complications of endoscopic retrograde cholangiopancreatography: how to avoid and manage them. Gastroenterol Hepatol (N Y). 2013 Aug;9(8):496-504.</a:t>
            </a:r>
          </a:p>
        </p:txBody>
      </p:sp>
    </p:spTree>
    <p:extLst>
      <p:ext uri="{BB962C8B-B14F-4D97-AF65-F5344CB8AC3E}">
        <p14:creationId xmlns:p14="http://schemas.microsoft.com/office/powerpoint/2010/main" val="2138634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ộp Văn bản 1">
            <a:extLst>
              <a:ext uri="{FF2B5EF4-FFF2-40B4-BE49-F238E27FC236}">
                <a16:creationId xmlns:a16="http://schemas.microsoft.com/office/drawing/2014/main" id="{45BE9921-35AA-4150-BFB4-D62331CEB36D}"/>
              </a:ext>
            </a:extLst>
          </p:cNvPr>
          <p:cNvSpPr txBox="1"/>
          <p:nvPr/>
        </p:nvSpPr>
        <p:spPr>
          <a:xfrm>
            <a:off x="1124767" y="1705861"/>
            <a:ext cx="10488112" cy="3693319"/>
          </a:xfrm>
          <a:prstGeom prst="rect">
            <a:avLst/>
          </a:prstGeom>
          <a:solidFill>
            <a:schemeClr val="bg1">
              <a:lumMod val="95000"/>
              <a:alpha val="5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t>EUS: </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hạy hơn CT, độ nhạy trong ung thư tụy 80-95% [1]</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hát hiện u nhỏ hơn 2 cm mà CT có thể bỏ só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ó thể lấy mẫu đánh giá bản chất u </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à thủ thuật xâm lấn, tỷ lệ biến chứng: 0,1-1% [1]</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hược điểm: phụ thuộc người làm, chi phí, tính sẵn có</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ử dụng khi nghi ngờ nhưng không thấy u trên CT và MRI</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TC:</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ó thể khảo sát đường mật, lấy mẫu, giải áp đường mậ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hông khảo sát được ống tụy</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iến chứng nhiều hơn ERCP, EUS [2] </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iện nay ít được sử dụng</a:t>
            </a:r>
          </a:p>
        </p:txBody>
      </p:sp>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 name="Group 7">
            <a:extLst>
              <a:ext uri="{FF2B5EF4-FFF2-40B4-BE49-F238E27FC236}">
                <a16:creationId xmlns:a16="http://schemas.microsoft.com/office/drawing/2014/main" id="{6ABB2B83-9EFE-7C9C-0A98-DA1BA50A9F67}"/>
              </a:ext>
            </a:extLst>
          </p:cNvPr>
          <p:cNvGrpSpPr/>
          <p:nvPr/>
        </p:nvGrpSpPr>
        <p:grpSpPr>
          <a:xfrm>
            <a:off x="533401" y="492718"/>
            <a:ext cx="8075021" cy="965827"/>
            <a:chOff x="533401" y="492718"/>
            <a:chExt cx="8075021" cy="965827"/>
          </a:xfrm>
        </p:grpSpPr>
        <p:sp>
          <p:nvSpPr>
            <p:cNvPr id="4" name="TextBox 12">
              <a:extLst>
                <a:ext uri="{FF2B5EF4-FFF2-40B4-BE49-F238E27FC236}">
                  <a16:creationId xmlns:a16="http://schemas.microsoft.com/office/drawing/2014/main" id="{36E51D40-4A0E-04D5-148A-C0E808756FC2}"/>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extBox 13">
              <a:extLst>
                <a:ext uri="{FF2B5EF4-FFF2-40B4-BE49-F238E27FC236}">
                  <a16:creationId xmlns:a16="http://schemas.microsoft.com/office/drawing/2014/main" id="{E6062B8E-CA01-04EB-6DE3-7556797C886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1. Có u hay không, u cơ quan nào?</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sp>
        <p:nvSpPr>
          <p:cNvPr id="9" name="Hộp Văn bản 8">
            <a:extLst>
              <a:ext uri="{FF2B5EF4-FFF2-40B4-BE49-F238E27FC236}">
                <a16:creationId xmlns:a16="http://schemas.microsoft.com/office/drawing/2014/main" id="{A735DC49-4D89-14BB-7166-F8E4741B96EE}"/>
              </a:ext>
            </a:extLst>
          </p:cNvPr>
          <p:cNvSpPr txBox="1"/>
          <p:nvPr/>
        </p:nvSpPr>
        <p:spPr>
          <a:xfrm>
            <a:off x="946478" y="5965172"/>
            <a:ext cx="10844691" cy="553998"/>
          </a:xfrm>
          <a:prstGeom prst="rect">
            <a:avLst/>
          </a:prstGeom>
          <a:noFill/>
        </p:spPr>
        <p:txBody>
          <a:bodyPr wrap="square">
            <a:spAutoFit/>
          </a:bodyPr>
          <a:lstStyle/>
          <a:p>
            <a:r>
              <a:rPr lang="en-US" sz="1000">
                <a:latin typeface="Arial" panose="020B0604020202020204" pitchFamily="34" charset="0"/>
                <a:cs typeface="Arial" panose="020B0604020202020204" pitchFamily="34" charset="0"/>
              </a:rPr>
              <a:t>[1] Phan Minh Trí. Ung thư quanh bóng vater. Bệnh học Ngoại khoa Tiêu hóa. 2021</a:t>
            </a:r>
          </a:p>
          <a:p>
            <a:r>
              <a:rPr lang="en-US" sz="1000">
                <a:latin typeface="Arial" panose="020B0604020202020204" pitchFamily="34" charset="0"/>
                <a:cs typeface="Arial" panose="020B0604020202020204" pitchFamily="34" charset="0"/>
              </a:rPr>
              <a:t>[2] </a:t>
            </a:r>
            <a:r>
              <a:rPr lang="vi-VN" sz="1000">
                <a:latin typeface="Arial" panose="020B0604020202020204" pitchFamily="34" charset="0"/>
                <a:cs typeface="Arial" panose="020B0604020202020204" pitchFamily="34" charset="0"/>
              </a:rPr>
              <a:t>Katherin E. Poruk, John L Cameron (2019). Pancreatic and periampullary cancer, in </a:t>
            </a:r>
            <a:r>
              <a:rPr lang="en-US" sz="1000">
                <a:effectLst/>
                <a:latin typeface="Arial" panose="020B0604020202020204" pitchFamily="34" charset="0"/>
                <a:cs typeface="Arial" panose="020B0604020202020204" pitchFamily="34" charset="0"/>
              </a:rPr>
              <a:t>Shackelford’s Surgery of the Alimentary Tract 8th edit.</a:t>
            </a:r>
            <a:endParaRPr lang="vi-VN" sz="1000">
              <a:latin typeface="Arial" panose="020B0604020202020204" pitchFamily="34" charset="0"/>
              <a:cs typeface="Arial" panose="020B0604020202020204" pitchFamily="34" charset="0"/>
            </a:endParaRPr>
          </a:p>
          <a:p>
            <a:endParaRPr lang="vi-VN" sz="1000">
              <a:latin typeface="Arial" panose="020B0604020202020204" pitchFamily="34" charset="0"/>
              <a:cs typeface="Arial" panose="020B0604020202020204" pitchFamily="34" charset="0"/>
            </a:endParaRPr>
          </a:p>
        </p:txBody>
      </p:sp>
      <p:grpSp>
        <p:nvGrpSpPr>
          <p:cNvPr id="11" name="Nhóm 10">
            <a:extLst>
              <a:ext uri="{FF2B5EF4-FFF2-40B4-BE49-F238E27FC236}">
                <a16:creationId xmlns:a16="http://schemas.microsoft.com/office/drawing/2014/main" id="{129B7D94-DA07-CF02-6AFE-254554669917}"/>
              </a:ext>
            </a:extLst>
          </p:cNvPr>
          <p:cNvGrpSpPr/>
          <p:nvPr/>
        </p:nvGrpSpPr>
        <p:grpSpPr>
          <a:xfrm>
            <a:off x="634723" y="1458545"/>
            <a:ext cx="278678" cy="4154532"/>
            <a:chOff x="634723" y="1458545"/>
            <a:chExt cx="278678" cy="4154532"/>
          </a:xfrm>
        </p:grpSpPr>
        <p:cxnSp>
          <p:nvCxnSpPr>
            <p:cNvPr id="6" name="Đường nối Thẳng 5">
              <a:extLst>
                <a:ext uri="{FF2B5EF4-FFF2-40B4-BE49-F238E27FC236}">
                  <a16:creationId xmlns:a16="http://schemas.microsoft.com/office/drawing/2014/main" id="{8734CA55-16D3-FFE7-DA93-1455347C358D}"/>
                </a:ext>
              </a:extLst>
            </p:cNvPr>
            <p:cNvCxnSpPr>
              <a:cxnSpLocks/>
            </p:cNvCxnSpPr>
            <p:nvPr/>
          </p:nvCxnSpPr>
          <p:spPr>
            <a:xfrm>
              <a:off x="774063" y="1458545"/>
              <a:ext cx="0" cy="4154532"/>
            </a:xfrm>
            <a:prstGeom prst="line">
              <a:avLst/>
            </a:prstGeom>
          </p:spPr>
          <p:style>
            <a:lnRef idx="1">
              <a:schemeClr val="accent2"/>
            </a:lnRef>
            <a:fillRef idx="0">
              <a:schemeClr val="accent2"/>
            </a:fillRef>
            <a:effectRef idx="0">
              <a:schemeClr val="accent2"/>
            </a:effectRef>
            <a:fontRef idx="minor">
              <a:schemeClr val="tx1"/>
            </a:fontRef>
          </p:style>
        </p:cxnSp>
        <p:sp>
          <p:nvSpPr>
            <p:cNvPr id="7" name="TextBox 116">
              <a:extLst>
                <a:ext uri="{FF2B5EF4-FFF2-40B4-BE49-F238E27FC236}">
                  <a16:creationId xmlns:a16="http://schemas.microsoft.com/office/drawing/2014/main" id="{9CCAA2FD-B28C-EDA3-67F3-DAF749279EF0}"/>
                </a:ext>
              </a:extLst>
            </p:cNvPr>
            <p:cNvSpPr txBox="1"/>
            <p:nvPr/>
          </p:nvSpPr>
          <p:spPr>
            <a:xfrm>
              <a:off x="634724" y="17997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8" name="TextBox 116">
              <a:extLst>
                <a:ext uri="{FF2B5EF4-FFF2-40B4-BE49-F238E27FC236}">
                  <a16:creationId xmlns:a16="http://schemas.microsoft.com/office/drawing/2014/main" id="{6E3DD614-6C49-0F86-43EE-68CBD6A654C1}"/>
                </a:ext>
              </a:extLst>
            </p:cNvPr>
            <p:cNvSpPr txBox="1"/>
            <p:nvPr/>
          </p:nvSpPr>
          <p:spPr>
            <a:xfrm>
              <a:off x="634723" y="3881375"/>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30904640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25">
            <a:extLst>
              <a:ext uri="{FF2B5EF4-FFF2-40B4-BE49-F238E27FC236}">
                <a16:creationId xmlns:a16="http://schemas.microsoft.com/office/drawing/2014/main" id="{43C3A443-EEDA-0CFB-E9E2-617178B0EB3B}"/>
              </a:ext>
            </a:extLst>
          </p:cNvPr>
          <p:cNvSpPr txBox="1"/>
          <p:nvPr/>
        </p:nvSpPr>
        <p:spPr>
          <a:xfrm>
            <a:off x="2703443" y="1843253"/>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9" name="Graphic 113">
            <a:extLst>
              <a:ext uri="{FF2B5EF4-FFF2-40B4-BE49-F238E27FC236}">
                <a16:creationId xmlns:a16="http://schemas.microsoft.com/office/drawing/2014/main" id="{675373D6-DC12-F605-3061-F0149EA12098}"/>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 name="TextBox 102">
            <a:extLst>
              <a:ext uri="{FF2B5EF4-FFF2-40B4-BE49-F238E27FC236}">
                <a16:creationId xmlns:a16="http://schemas.microsoft.com/office/drawing/2014/main" id="{3A2FA7D8-69C6-B04D-664B-427A7ADECB82}"/>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8" name="Hộp Văn bản 7">
            <a:extLst>
              <a:ext uri="{FF2B5EF4-FFF2-40B4-BE49-F238E27FC236}">
                <a16:creationId xmlns:a16="http://schemas.microsoft.com/office/drawing/2014/main" id="{615A9090-11A5-9805-92F2-60BD6A2B7E56}"/>
              </a:ext>
            </a:extLst>
          </p:cNvPr>
          <p:cNvSpPr txBox="1"/>
          <p:nvPr/>
        </p:nvSpPr>
        <p:spPr>
          <a:xfrm>
            <a:off x="331854" y="5349053"/>
            <a:ext cx="4410075" cy="769441"/>
          </a:xfrm>
          <a:prstGeom prst="rect">
            <a:avLst/>
          </a:prstGeom>
          <a:noFill/>
        </p:spPr>
        <p:txBody>
          <a:bodyPr wrap="square">
            <a:spAutoFit/>
          </a:bodyPr>
          <a:lstStyle/>
          <a:p>
            <a:r>
              <a:rPr lang="en-US" sz="1100"/>
              <a:t>Nikolaidis, P., Hammond, N. A., Day, K., Yaghmai, V., Wood, C. G., Mosbach, D. S., … Miller, F. H. (2014). Imaging Features of Benign and Malignant Ampullary and Periampullary Lesions. RadioGraphics, 34(3), 624–641.</a:t>
            </a:r>
            <a:endParaRPr lang="vi-VN" sz="1100"/>
          </a:p>
        </p:txBody>
      </p:sp>
      <p:pic>
        <p:nvPicPr>
          <p:cNvPr id="3" name="Hình ảnh 2">
            <a:extLst>
              <a:ext uri="{FF2B5EF4-FFF2-40B4-BE49-F238E27FC236}">
                <a16:creationId xmlns:a16="http://schemas.microsoft.com/office/drawing/2014/main" id="{C834F966-8E31-700A-428A-75F2F93B8FF3}"/>
              </a:ext>
            </a:extLst>
          </p:cNvPr>
          <p:cNvPicPr>
            <a:picLocks noChangeAspect="1"/>
          </p:cNvPicPr>
          <p:nvPr/>
        </p:nvPicPr>
        <p:blipFill>
          <a:blip r:embed="rId3"/>
          <a:stretch>
            <a:fillRect/>
          </a:stretch>
        </p:blipFill>
        <p:spPr>
          <a:xfrm>
            <a:off x="486974" y="1680882"/>
            <a:ext cx="3928149" cy="3361765"/>
          </a:xfrm>
          <a:prstGeom prst="rect">
            <a:avLst/>
          </a:prstGeom>
        </p:spPr>
      </p:pic>
      <p:pic>
        <p:nvPicPr>
          <p:cNvPr id="12" name="Hình ảnh 11">
            <a:extLst>
              <a:ext uri="{FF2B5EF4-FFF2-40B4-BE49-F238E27FC236}">
                <a16:creationId xmlns:a16="http://schemas.microsoft.com/office/drawing/2014/main" id="{F6637872-DA7D-8134-FE1E-DDA38EA6F9DD}"/>
              </a:ext>
            </a:extLst>
          </p:cNvPr>
          <p:cNvPicPr>
            <a:picLocks noChangeAspect="1"/>
          </p:cNvPicPr>
          <p:nvPr/>
        </p:nvPicPr>
        <p:blipFill>
          <a:blip r:embed="rId4"/>
          <a:stretch>
            <a:fillRect/>
          </a:stretch>
        </p:blipFill>
        <p:spPr>
          <a:xfrm>
            <a:off x="4741929" y="1680882"/>
            <a:ext cx="3799151" cy="3698108"/>
          </a:xfrm>
          <a:prstGeom prst="rect">
            <a:avLst/>
          </a:prstGeom>
        </p:spPr>
      </p:pic>
      <p:pic>
        <p:nvPicPr>
          <p:cNvPr id="14" name="Hình ảnh 13">
            <a:extLst>
              <a:ext uri="{FF2B5EF4-FFF2-40B4-BE49-F238E27FC236}">
                <a16:creationId xmlns:a16="http://schemas.microsoft.com/office/drawing/2014/main" id="{FDA110DF-6D46-CB6E-B462-99480A69EBE1}"/>
              </a:ext>
            </a:extLst>
          </p:cNvPr>
          <p:cNvPicPr>
            <a:picLocks noChangeAspect="1"/>
          </p:cNvPicPr>
          <p:nvPr/>
        </p:nvPicPr>
        <p:blipFill>
          <a:blip r:embed="rId5"/>
          <a:stretch>
            <a:fillRect/>
          </a:stretch>
        </p:blipFill>
        <p:spPr>
          <a:xfrm>
            <a:off x="7907663" y="1680882"/>
            <a:ext cx="4244708" cy="3703641"/>
          </a:xfrm>
          <a:prstGeom prst="rect">
            <a:avLst/>
          </a:prstGeom>
        </p:spPr>
      </p:pic>
      <p:sp>
        <p:nvSpPr>
          <p:cNvPr id="15" name="Hộp Văn bản 14">
            <a:extLst>
              <a:ext uri="{FF2B5EF4-FFF2-40B4-BE49-F238E27FC236}">
                <a16:creationId xmlns:a16="http://schemas.microsoft.com/office/drawing/2014/main" id="{8F069816-74C0-83E8-AD9E-C25283833B4A}"/>
              </a:ext>
            </a:extLst>
          </p:cNvPr>
          <p:cNvSpPr txBox="1"/>
          <p:nvPr/>
        </p:nvSpPr>
        <p:spPr>
          <a:xfrm>
            <a:off x="1353807" y="1136052"/>
            <a:ext cx="2128981" cy="369332"/>
          </a:xfrm>
          <a:prstGeom prst="rect">
            <a:avLst/>
          </a:prstGeom>
          <a:noFill/>
        </p:spPr>
        <p:txBody>
          <a:bodyPr wrap="square" rtlCol="0">
            <a:spAutoFit/>
          </a:bodyPr>
          <a:lstStyle/>
          <a:p>
            <a:r>
              <a:rPr lang="en-US"/>
              <a:t>UT đoạn cuối OMC</a:t>
            </a:r>
            <a:endParaRPr lang="vi-VN"/>
          </a:p>
        </p:txBody>
      </p:sp>
      <p:sp>
        <p:nvSpPr>
          <p:cNvPr id="16" name="Hộp Văn bản 15">
            <a:extLst>
              <a:ext uri="{FF2B5EF4-FFF2-40B4-BE49-F238E27FC236}">
                <a16:creationId xmlns:a16="http://schemas.microsoft.com/office/drawing/2014/main" id="{E020BE48-D9B9-217C-0272-BF192F2EE735}"/>
              </a:ext>
            </a:extLst>
          </p:cNvPr>
          <p:cNvSpPr txBox="1"/>
          <p:nvPr/>
        </p:nvSpPr>
        <p:spPr>
          <a:xfrm>
            <a:off x="6954432" y="1136052"/>
            <a:ext cx="2460812" cy="369332"/>
          </a:xfrm>
          <a:prstGeom prst="rect">
            <a:avLst/>
          </a:prstGeom>
          <a:noFill/>
        </p:spPr>
        <p:txBody>
          <a:bodyPr wrap="square" rtlCol="0">
            <a:spAutoFit/>
          </a:bodyPr>
          <a:lstStyle/>
          <a:p>
            <a:r>
              <a:rPr lang="en-US"/>
              <a:t>UT bóng vater</a:t>
            </a:r>
            <a:endParaRPr lang="vi-VN"/>
          </a:p>
        </p:txBody>
      </p:sp>
      <p:sp>
        <p:nvSpPr>
          <p:cNvPr id="18" name="Hộp Văn bản 17">
            <a:extLst>
              <a:ext uri="{FF2B5EF4-FFF2-40B4-BE49-F238E27FC236}">
                <a16:creationId xmlns:a16="http://schemas.microsoft.com/office/drawing/2014/main" id="{791D6399-A6AE-D979-5297-B29AC349F1A0}"/>
              </a:ext>
            </a:extLst>
          </p:cNvPr>
          <p:cNvSpPr txBox="1"/>
          <p:nvPr/>
        </p:nvSpPr>
        <p:spPr>
          <a:xfrm>
            <a:off x="5135718" y="5697876"/>
            <a:ext cx="6098240" cy="400110"/>
          </a:xfrm>
          <a:prstGeom prst="rect">
            <a:avLst/>
          </a:prstGeom>
          <a:noFill/>
        </p:spPr>
        <p:txBody>
          <a:bodyPr wrap="square">
            <a:spAutoFit/>
          </a:bodyPr>
          <a:lstStyle/>
          <a:p>
            <a:r>
              <a:rPr lang="vi-VN" sz="1000"/>
              <a:t>Anand, Naveen &amp; Darwin, Peter. (2021). Imaging Diagnostics in Pancreatic Cancer A Clinical Guide: A Clinical Guide.</a:t>
            </a:r>
          </a:p>
        </p:txBody>
      </p:sp>
    </p:spTree>
    <p:extLst>
      <p:ext uri="{BB962C8B-B14F-4D97-AF65-F5344CB8AC3E}">
        <p14:creationId xmlns:p14="http://schemas.microsoft.com/office/powerpoint/2010/main" val="9649115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25">
            <a:extLst>
              <a:ext uri="{FF2B5EF4-FFF2-40B4-BE49-F238E27FC236}">
                <a16:creationId xmlns:a16="http://schemas.microsoft.com/office/drawing/2014/main" id="{43C3A443-EEDA-0CFB-E9E2-617178B0EB3B}"/>
              </a:ext>
            </a:extLst>
          </p:cNvPr>
          <p:cNvSpPr txBox="1"/>
          <p:nvPr/>
        </p:nvSpPr>
        <p:spPr>
          <a:xfrm>
            <a:off x="2703443" y="1843253"/>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r>
              <a:rPr lang="vi-VN" b="0" i="0">
                <a:solidFill>
                  <a:srgbClr val="212121"/>
                </a:solidFill>
                <a:effectLst/>
                <a:latin typeface="BlinkMacSystemFont"/>
              </a:rPr>
              <a:t>Chen CH, Tseng LJ, Yang CC, Yeh YH. Preoperative evaluation of periampullary tumors by endoscopic sonography, transabdominal sonography, and computed tomography. J Clin Ultrasound. 2001 Jul-Aug;29(6):313-21.</a:t>
            </a:r>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9" name="Graphic 113">
            <a:extLst>
              <a:ext uri="{FF2B5EF4-FFF2-40B4-BE49-F238E27FC236}">
                <a16:creationId xmlns:a16="http://schemas.microsoft.com/office/drawing/2014/main" id="{675373D6-DC12-F605-3061-F0149EA12098}"/>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 name="TextBox 102">
            <a:extLst>
              <a:ext uri="{FF2B5EF4-FFF2-40B4-BE49-F238E27FC236}">
                <a16:creationId xmlns:a16="http://schemas.microsoft.com/office/drawing/2014/main" id="{3A2FA7D8-69C6-B04D-664B-427A7ADECB82}"/>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pic>
        <p:nvPicPr>
          <p:cNvPr id="1026" name="Picture 2" descr="Ampullary tumor (T) as seen with a radial echoendoscope positioned in the duodenal bulb. The tumor is invading the pancreatic head (P) and CBD. At histopathology, this lesion was proven to be a T3 adenocarcinoma with less than 2 cm pancreatic invasion. The PV and gallbladder (GB) are also seen in this image  ">
            <a:extLst>
              <a:ext uri="{FF2B5EF4-FFF2-40B4-BE49-F238E27FC236}">
                <a16:creationId xmlns:a16="http://schemas.microsoft.com/office/drawing/2014/main" id="{C87B3EBD-5435-2408-0164-DB3788E5B2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3788" y="2049499"/>
            <a:ext cx="3841960" cy="3361618"/>
          </a:xfrm>
          <a:prstGeom prst="rect">
            <a:avLst/>
          </a:prstGeom>
          <a:noFill/>
          <a:extLst>
            <a:ext uri="{909E8E84-426E-40DD-AFC4-6F175D3DCCD1}">
              <a14:hiddenFill xmlns:a14="http://schemas.microsoft.com/office/drawing/2010/main">
                <a:solidFill>
                  <a:srgbClr val="FFFFFF"/>
                </a:solidFill>
              </a14:hiddenFill>
            </a:ext>
          </a:extLst>
        </p:spPr>
      </p:pic>
      <p:sp>
        <p:nvSpPr>
          <p:cNvPr id="7" name="Hộp Văn bản 6">
            <a:extLst>
              <a:ext uri="{FF2B5EF4-FFF2-40B4-BE49-F238E27FC236}">
                <a16:creationId xmlns:a16="http://schemas.microsoft.com/office/drawing/2014/main" id="{12E8954F-5F7E-93A1-F6B5-7E78BF290A52}"/>
              </a:ext>
            </a:extLst>
          </p:cNvPr>
          <p:cNvSpPr txBox="1"/>
          <p:nvPr/>
        </p:nvSpPr>
        <p:spPr>
          <a:xfrm>
            <a:off x="8131165" y="5617363"/>
            <a:ext cx="3527416" cy="861774"/>
          </a:xfrm>
          <a:prstGeom prst="rect">
            <a:avLst/>
          </a:prstGeom>
          <a:noFill/>
        </p:spPr>
        <p:txBody>
          <a:bodyPr wrap="square">
            <a:spAutoFit/>
          </a:bodyPr>
          <a:lstStyle/>
          <a:p>
            <a:r>
              <a:rPr lang="vi-VN" sz="1000"/>
              <a:t>Wee, Eric. (2012). The diagnostic accuracy and strength of agreement between endoscopic ultrasound and histopathology in the staging of ampullary tumors. Indian journal of gastroenterology : official journal of the Indian Society of Gastroenterology. 31. 10.1007</a:t>
            </a:r>
          </a:p>
        </p:txBody>
      </p:sp>
      <p:sp>
        <p:nvSpPr>
          <p:cNvPr id="11" name="Hộp Văn bản 10">
            <a:extLst>
              <a:ext uri="{FF2B5EF4-FFF2-40B4-BE49-F238E27FC236}">
                <a16:creationId xmlns:a16="http://schemas.microsoft.com/office/drawing/2014/main" id="{899DFCEA-D151-CC67-708D-037614ADB465}"/>
              </a:ext>
            </a:extLst>
          </p:cNvPr>
          <p:cNvSpPr txBox="1"/>
          <p:nvPr/>
        </p:nvSpPr>
        <p:spPr>
          <a:xfrm>
            <a:off x="637183" y="1516439"/>
            <a:ext cx="2218765" cy="369332"/>
          </a:xfrm>
          <a:prstGeom prst="rect">
            <a:avLst/>
          </a:prstGeom>
          <a:noFill/>
        </p:spPr>
        <p:txBody>
          <a:bodyPr wrap="square" rtlCol="0">
            <a:spAutoFit/>
          </a:bodyPr>
          <a:lstStyle/>
          <a:p>
            <a:r>
              <a:rPr lang="vi-VN"/>
              <a:t>UT đầu tụy</a:t>
            </a:r>
          </a:p>
        </p:txBody>
      </p:sp>
      <p:sp>
        <p:nvSpPr>
          <p:cNvPr id="12" name="Hộp Văn bản 11">
            <a:extLst>
              <a:ext uri="{FF2B5EF4-FFF2-40B4-BE49-F238E27FC236}">
                <a16:creationId xmlns:a16="http://schemas.microsoft.com/office/drawing/2014/main" id="{D4C19F3C-F0F2-B0C3-F668-0367B5E1CF5F}"/>
              </a:ext>
            </a:extLst>
          </p:cNvPr>
          <p:cNvSpPr txBox="1"/>
          <p:nvPr/>
        </p:nvSpPr>
        <p:spPr>
          <a:xfrm>
            <a:off x="9229112" y="1463699"/>
            <a:ext cx="1805964" cy="369332"/>
          </a:xfrm>
          <a:prstGeom prst="rect">
            <a:avLst/>
          </a:prstGeom>
          <a:noFill/>
        </p:spPr>
        <p:txBody>
          <a:bodyPr wrap="square" rtlCol="0">
            <a:spAutoFit/>
          </a:bodyPr>
          <a:lstStyle/>
          <a:p>
            <a:r>
              <a:rPr lang="vi-VN"/>
              <a:t>UT bóng vater</a:t>
            </a:r>
          </a:p>
        </p:txBody>
      </p:sp>
      <p:pic>
        <p:nvPicPr>
          <p:cNvPr id="14" name="Hình ảnh 13">
            <a:extLst>
              <a:ext uri="{FF2B5EF4-FFF2-40B4-BE49-F238E27FC236}">
                <a16:creationId xmlns:a16="http://schemas.microsoft.com/office/drawing/2014/main" id="{5DD86779-E7C2-7E4C-30C0-1AD426660840}"/>
              </a:ext>
            </a:extLst>
          </p:cNvPr>
          <p:cNvPicPr>
            <a:picLocks noChangeAspect="1"/>
          </p:cNvPicPr>
          <p:nvPr/>
        </p:nvPicPr>
        <p:blipFill>
          <a:blip r:embed="rId4"/>
          <a:stretch>
            <a:fillRect/>
          </a:stretch>
        </p:blipFill>
        <p:spPr>
          <a:xfrm>
            <a:off x="118126" y="2017413"/>
            <a:ext cx="4033735" cy="3422231"/>
          </a:xfrm>
          <a:prstGeom prst="rect">
            <a:avLst/>
          </a:prstGeom>
        </p:spPr>
      </p:pic>
      <p:sp>
        <p:nvSpPr>
          <p:cNvPr id="16" name="Hộp Văn bản 15">
            <a:extLst>
              <a:ext uri="{FF2B5EF4-FFF2-40B4-BE49-F238E27FC236}">
                <a16:creationId xmlns:a16="http://schemas.microsoft.com/office/drawing/2014/main" id="{E03BAD86-FF19-40AA-951F-DDA09A0F3E4D}"/>
              </a:ext>
            </a:extLst>
          </p:cNvPr>
          <p:cNvSpPr txBox="1"/>
          <p:nvPr/>
        </p:nvSpPr>
        <p:spPr>
          <a:xfrm>
            <a:off x="533419" y="5617893"/>
            <a:ext cx="3075919" cy="707886"/>
          </a:xfrm>
          <a:prstGeom prst="rect">
            <a:avLst/>
          </a:prstGeom>
          <a:noFill/>
        </p:spPr>
        <p:txBody>
          <a:bodyPr wrap="square">
            <a:spAutoFit/>
          </a:bodyPr>
          <a:lstStyle/>
          <a:p>
            <a:r>
              <a:rPr lang="en-US" sz="1000" b="0" i="0">
                <a:solidFill>
                  <a:srgbClr val="212121"/>
                </a:solidFill>
                <a:effectLst/>
                <a:latin typeface="Arial" panose="020B0604020202020204" pitchFamily="34" charset="0"/>
                <a:cs typeface="Arial" panose="020B0604020202020204" pitchFamily="34" charset="0"/>
              </a:rPr>
              <a:t>Low G, Panu A, Millo N, Leen E. Multimodality imaging of neoplastic and nonneoplastic solid lesions of the pancreas. Radiographics. 2011 Jul-Aug;31(4):993-1015</a:t>
            </a:r>
            <a:endParaRPr lang="vi-VN" sz="1000">
              <a:latin typeface="Arial" panose="020B0604020202020204" pitchFamily="34" charset="0"/>
              <a:cs typeface="Arial" panose="020B0604020202020204" pitchFamily="34" charset="0"/>
            </a:endParaRPr>
          </a:p>
        </p:txBody>
      </p:sp>
      <p:pic>
        <p:nvPicPr>
          <p:cNvPr id="18" name="Hình ảnh 17">
            <a:extLst>
              <a:ext uri="{FF2B5EF4-FFF2-40B4-BE49-F238E27FC236}">
                <a16:creationId xmlns:a16="http://schemas.microsoft.com/office/drawing/2014/main" id="{5C5BDEBE-4C41-BD5D-0FDA-639CA048EF2A}"/>
              </a:ext>
            </a:extLst>
          </p:cNvPr>
          <p:cNvPicPr>
            <a:picLocks noChangeAspect="1"/>
          </p:cNvPicPr>
          <p:nvPr/>
        </p:nvPicPr>
        <p:blipFill>
          <a:blip r:embed="rId5"/>
          <a:stretch>
            <a:fillRect/>
          </a:stretch>
        </p:blipFill>
        <p:spPr>
          <a:xfrm>
            <a:off x="4108794" y="1928289"/>
            <a:ext cx="4088742" cy="3464935"/>
          </a:xfrm>
          <a:prstGeom prst="rect">
            <a:avLst/>
          </a:prstGeom>
        </p:spPr>
      </p:pic>
      <p:sp>
        <p:nvSpPr>
          <p:cNvPr id="19" name="Hộp Văn bản 18">
            <a:extLst>
              <a:ext uri="{FF2B5EF4-FFF2-40B4-BE49-F238E27FC236}">
                <a16:creationId xmlns:a16="http://schemas.microsoft.com/office/drawing/2014/main" id="{1E8C73B7-C547-BAF2-4B12-9DA76C742D2B}"/>
              </a:ext>
            </a:extLst>
          </p:cNvPr>
          <p:cNvSpPr txBox="1"/>
          <p:nvPr/>
        </p:nvSpPr>
        <p:spPr>
          <a:xfrm>
            <a:off x="5043782" y="1516439"/>
            <a:ext cx="2218765" cy="369332"/>
          </a:xfrm>
          <a:prstGeom prst="rect">
            <a:avLst/>
          </a:prstGeom>
          <a:noFill/>
        </p:spPr>
        <p:txBody>
          <a:bodyPr wrap="square" rtlCol="0">
            <a:spAutoFit/>
          </a:bodyPr>
          <a:lstStyle/>
          <a:p>
            <a:r>
              <a:rPr lang="vi-VN"/>
              <a:t>UT đầu tụy</a:t>
            </a:r>
          </a:p>
        </p:txBody>
      </p:sp>
      <p:sp>
        <p:nvSpPr>
          <p:cNvPr id="21" name="Hộp Văn bản 20">
            <a:extLst>
              <a:ext uri="{FF2B5EF4-FFF2-40B4-BE49-F238E27FC236}">
                <a16:creationId xmlns:a16="http://schemas.microsoft.com/office/drawing/2014/main" id="{E8F419B9-8FF7-CD01-5A00-EEBB09AF1D39}"/>
              </a:ext>
            </a:extLst>
          </p:cNvPr>
          <p:cNvSpPr txBox="1"/>
          <p:nvPr/>
        </p:nvSpPr>
        <p:spPr>
          <a:xfrm>
            <a:off x="4305675" y="5644403"/>
            <a:ext cx="3060305" cy="861774"/>
          </a:xfrm>
          <a:prstGeom prst="rect">
            <a:avLst/>
          </a:prstGeom>
          <a:noFill/>
        </p:spPr>
        <p:txBody>
          <a:bodyPr wrap="square">
            <a:spAutoFit/>
          </a:bodyPr>
          <a:lstStyle/>
          <a:p>
            <a:r>
              <a:rPr lang="vi-VN" sz="1000" b="0" i="0">
                <a:solidFill>
                  <a:srgbClr val="212121"/>
                </a:solidFill>
                <a:effectLst/>
                <a:latin typeface="Arial" panose="020B0604020202020204" pitchFamily="34" charset="0"/>
                <a:cs typeface="Arial" panose="020B0604020202020204" pitchFamily="34" charset="0"/>
              </a:rPr>
              <a:t>Chen CH, Tseng LJ, Yang CC, Yeh YH. Preoperative evaluation of periampullary tumors by endoscopic sonography, transabdominal sonography, and computed tomography. J Clin Ultrasound. 2001 Jul-Aug;29(6):313-21.</a:t>
            </a:r>
            <a:endParaRPr lang="vi-VN"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6550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25">
            <a:extLst>
              <a:ext uri="{FF2B5EF4-FFF2-40B4-BE49-F238E27FC236}">
                <a16:creationId xmlns:a16="http://schemas.microsoft.com/office/drawing/2014/main" id="{43C3A443-EEDA-0CFB-E9E2-617178B0EB3B}"/>
              </a:ext>
            </a:extLst>
          </p:cNvPr>
          <p:cNvSpPr txBox="1"/>
          <p:nvPr/>
        </p:nvSpPr>
        <p:spPr>
          <a:xfrm>
            <a:off x="2703443" y="1843253"/>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9" name="Graphic 113">
            <a:extLst>
              <a:ext uri="{FF2B5EF4-FFF2-40B4-BE49-F238E27FC236}">
                <a16:creationId xmlns:a16="http://schemas.microsoft.com/office/drawing/2014/main" id="{675373D6-DC12-F605-3061-F0149EA12098}"/>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 name="TextBox 102">
            <a:extLst>
              <a:ext uri="{FF2B5EF4-FFF2-40B4-BE49-F238E27FC236}">
                <a16:creationId xmlns:a16="http://schemas.microsoft.com/office/drawing/2014/main" id="{3A2FA7D8-69C6-B04D-664B-427A7ADECB82}"/>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pic>
        <p:nvPicPr>
          <p:cNvPr id="3" name="Hình ảnh 2">
            <a:extLst>
              <a:ext uri="{FF2B5EF4-FFF2-40B4-BE49-F238E27FC236}">
                <a16:creationId xmlns:a16="http://schemas.microsoft.com/office/drawing/2014/main" id="{B092A126-43F6-AA0E-6DCC-EE9C0D6F503F}"/>
              </a:ext>
            </a:extLst>
          </p:cNvPr>
          <p:cNvPicPr>
            <a:picLocks noChangeAspect="1"/>
          </p:cNvPicPr>
          <p:nvPr/>
        </p:nvPicPr>
        <p:blipFill>
          <a:blip r:embed="rId3"/>
          <a:stretch>
            <a:fillRect/>
          </a:stretch>
        </p:blipFill>
        <p:spPr>
          <a:xfrm>
            <a:off x="1422857" y="1211421"/>
            <a:ext cx="8848163" cy="5128363"/>
          </a:xfrm>
          <a:prstGeom prst="rect">
            <a:avLst/>
          </a:prstGeom>
        </p:spPr>
      </p:pic>
      <p:sp>
        <p:nvSpPr>
          <p:cNvPr id="4" name="Hộp Văn bản 3">
            <a:extLst>
              <a:ext uri="{FF2B5EF4-FFF2-40B4-BE49-F238E27FC236}">
                <a16:creationId xmlns:a16="http://schemas.microsoft.com/office/drawing/2014/main" id="{FE2AD87A-64E0-335D-989E-FEF938C775AB}"/>
              </a:ext>
            </a:extLst>
          </p:cNvPr>
          <p:cNvSpPr txBox="1"/>
          <p:nvPr/>
        </p:nvSpPr>
        <p:spPr>
          <a:xfrm>
            <a:off x="7240658" y="734535"/>
            <a:ext cx="2218765" cy="369332"/>
          </a:xfrm>
          <a:prstGeom prst="rect">
            <a:avLst/>
          </a:prstGeom>
          <a:noFill/>
        </p:spPr>
        <p:txBody>
          <a:bodyPr wrap="square" rtlCol="0">
            <a:spAutoFit/>
          </a:bodyPr>
          <a:lstStyle/>
          <a:p>
            <a:r>
              <a:rPr lang="vi-VN"/>
              <a:t>ERCP</a:t>
            </a:r>
          </a:p>
        </p:txBody>
      </p:sp>
      <p:sp>
        <p:nvSpPr>
          <p:cNvPr id="8" name="Hộp Văn bản 7">
            <a:extLst>
              <a:ext uri="{FF2B5EF4-FFF2-40B4-BE49-F238E27FC236}">
                <a16:creationId xmlns:a16="http://schemas.microsoft.com/office/drawing/2014/main" id="{5839873C-AA4E-4FB1-F717-945F0D738EBC}"/>
              </a:ext>
            </a:extLst>
          </p:cNvPr>
          <p:cNvSpPr txBox="1"/>
          <p:nvPr/>
        </p:nvSpPr>
        <p:spPr>
          <a:xfrm>
            <a:off x="1422857" y="6398837"/>
            <a:ext cx="9135602" cy="400110"/>
          </a:xfrm>
          <a:prstGeom prst="rect">
            <a:avLst/>
          </a:prstGeom>
          <a:noFill/>
        </p:spPr>
        <p:txBody>
          <a:bodyPr wrap="square">
            <a:spAutoFit/>
          </a:bodyPr>
          <a:lstStyle/>
          <a:p>
            <a:r>
              <a:rPr lang="vi-VN" sz="1000"/>
              <a:t>Yang, Hyo &amp; Kim, Jai &amp; Chun, Jae &amp; Kim, Su &amp; Lee, Sang Hyub &amp; Kim, Haeryoung &amp; Hwang, Jin-Hyeok. (2012). A Case of Adenocarcinoma in situ of the Distal Common Bile Duct Diagnosed by Percutaneous Transhepatic Cholangioscopy. The Korean journal of internal medicine. 27. 211-5. 10.3904/kjim.2012.27.2.211. </a:t>
            </a:r>
          </a:p>
        </p:txBody>
      </p:sp>
      <p:sp>
        <p:nvSpPr>
          <p:cNvPr id="13" name="Hộp Văn bản 12">
            <a:extLst>
              <a:ext uri="{FF2B5EF4-FFF2-40B4-BE49-F238E27FC236}">
                <a16:creationId xmlns:a16="http://schemas.microsoft.com/office/drawing/2014/main" id="{D0DF3F80-F50A-ED34-F6D3-A7C69F9E676A}"/>
              </a:ext>
            </a:extLst>
          </p:cNvPr>
          <p:cNvSpPr txBox="1"/>
          <p:nvPr/>
        </p:nvSpPr>
        <p:spPr>
          <a:xfrm>
            <a:off x="1821929" y="702882"/>
            <a:ext cx="2218765" cy="369332"/>
          </a:xfrm>
          <a:prstGeom prst="rect">
            <a:avLst/>
          </a:prstGeom>
          <a:noFill/>
        </p:spPr>
        <p:txBody>
          <a:bodyPr wrap="square" rtlCol="0">
            <a:spAutoFit/>
          </a:bodyPr>
          <a:lstStyle/>
          <a:p>
            <a:r>
              <a:rPr lang="vi-VN"/>
              <a:t>PTC</a:t>
            </a:r>
          </a:p>
        </p:txBody>
      </p:sp>
      <p:sp>
        <p:nvSpPr>
          <p:cNvPr id="15" name="Hộp Văn bản 14">
            <a:extLst>
              <a:ext uri="{FF2B5EF4-FFF2-40B4-BE49-F238E27FC236}">
                <a16:creationId xmlns:a16="http://schemas.microsoft.com/office/drawing/2014/main" id="{2D958AD9-24C0-C845-24DF-3185A6F30F58}"/>
              </a:ext>
            </a:extLst>
          </p:cNvPr>
          <p:cNvSpPr txBox="1"/>
          <p:nvPr/>
        </p:nvSpPr>
        <p:spPr>
          <a:xfrm>
            <a:off x="4737555" y="335288"/>
            <a:ext cx="2218765" cy="369332"/>
          </a:xfrm>
          <a:prstGeom prst="rect">
            <a:avLst/>
          </a:prstGeom>
          <a:noFill/>
        </p:spPr>
        <p:txBody>
          <a:bodyPr wrap="square" rtlCol="0">
            <a:spAutoFit/>
          </a:bodyPr>
          <a:lstStyle/>
          <a:p>
            <a:r>
              <a:rPr lang="vi-VN"/>
              <a:t>UT đoạn cuối OMC</a:t>
            </a:r>
          </a:p>
        </p:txBody>
      </p:sp>
    </p:spTree>
    <p:extLst>
      <p:ext uri="{BB962C8B-B14F-4D97-AF65-F5344CB8AC3E}">
        <p14:creationId xmlns:p14="http://schemas.microsoft.com/office/powerpoint/2010/main" val="2679137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533402" y="492718"/>
            <a:ext cx="2887976" cy="965827"/>
            <a:chOff x="533402" y="492718"/>
            <a:chExt cx="2887976" cy="96582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 Giới thiệu</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3321736" y="584140"/>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2" name="Hộp Văn bản 1">
            <a:extLst>
              <a:ext uri="{FF2B5EF4-FFF2-40B4-BE49-F238E27FC236}">
                <a16:creationId xmlns:a16="http://schemas.microsoft.com/office/drawing/2014/main" id="{181BF466-675B-4C91-E945-C6343C6128B9}"/>
              </a:ext>
            </a:extLst>
          </p:cNvPr>
          <p:cNvSpPr txBox="1"/>
          <p:nvPr/>
        </p:nvSpPr>
        <p:spPr>
          <a:xfrm>
            <a:off x="533402" y="1899267"/>
            <a:ext cx="5019259" cy="4190314"/>
          </a:xfrm>
          <a:prstGeom prst="rect">
            <a:avLst/>
          </a:prstGeom>
          <a:gradFill flip="none" rotWithShape="0">
            <a:gsLst>
              <a:gs pos="10000">
                <a:schemeClr val="bg1">
                  <a:lumMod val="85000"/>
                  <a:alpha val="13000"/>
                </a:schemeClr>
              </a:gs>
              <a:gs pos="100000">
                <a:schemeClr val="bg1">
                  <a:lumMod val="95000"/>
                  <a:alpha val="50000"/>
                </a:schemeClr>
              </a:gs>
            </a:gsLst>
            <a:lin ang="2700000" scaled="0"/>
            <a:tileRect/>
          </a:gradFill>
        </p:spPr>
        <p:txBody>
          <a:bodyPr wrap="square" rtlCol="0">
            <a:spAutoFit/>
          </a:bodyPr>
          <a:lstStyle/>
          <a:p>
            <a:pPr marL="342900" indent="-342900">
              <a:lnSpc>
                <a:spcPct val="150000"/>
              </a:lnSpc>
              <a:buFontTx/>
              <a:buChar char="-"/>
            </a:pPr>
            <a:r>
              <a:rPr lang="vi-VN" sz="2000">
                <a:latin typeface="Arial" panose="020B0604020202020204" pitchFamily="34" charset="0"/>
                <a:cs typeface="Arial" panose="020B0604020202020204" pitchFamily="34" charset="0"/>
              </a:rPr>
              <a:t>Ung thư quanh bóng vater là tập hợp những tân sinh ác tính của vùng quanh bóng vater. </a:t>
            </a:r>
          </a:p>
          <a:p>
            <a:pPr marL="342900" indent="-342900">
              <a:lnSpc>
                <a:spcPct val="150000"/>
              </a:lnSpc>
              <a:buFontTx/>
              <a:buChar char="-"/>
            </a:pPr>
            <a:r>
              <a:rPr lang="vi-VN" sz="2000">
                <a:latin typeface="Arial" panose="020B0604020202020204" pitchFamily="34" charset="0"/>
                <a:cs typeface="Arial" panose="020B0604020202020204" pitchFamily="34" charset="0"/>
              </a:rPr>
              <a:t>Theo Halsted -1898: vùng quanh bóng vater giới hạn trong bán kính 2cm quanh nhú tá lớn</a:t>
            </a:r>
            <a:endParaRPr lang="en-US" sz="2000">
              <a:latin typeface="Arial" panose="020B0604020202020204" pitchFamily="34" charset="0"/>
              <a:cs typeface="Arial" panose="020B0604020202020204" pitchFamily="34" charset="0"/>
            </a:endParaRPr>
          </a:p>
          <a:p>
            <a:pPr marL="342900" indent="-342900">
              <a:lnSpc>
                <a:spcPct val="150000"/>
              </a:lnSpc>
              <a:buFontTx/>
              <a:buChar char="-"/>
            </a:pPr>
            <a:r>
              <a:rPr lang="en-US" sz="2000">
                <a:latin typeface="Arial" panose="020B0604020202020204" pitchFamily="34" charset="0"/>
                <a:cs typeface="Arial" panose="020B0604020202020204" pitchFamily="34" charset="0"/>
              </a:rPr>
              <a:t>Có biểu </a:t>
            </a:r>
            <a:r>
              <a:rPr lang="en-US" sz="2000" err="1">
                <a:latin typeface="Arial" panose="020B0604020202020204" pitchFamily="34" charset="0"/>
                <a:cs typeface="Arial" panose="020B0604020202020204" pitchFamily="34" charset="0"/>
              </a:rPr>
              <a:t>hiện</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lâm</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sàng</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chẩn</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đoán</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và</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điều</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trị</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giống</a:t>
            </a:r>
            <a:r>
              <a:rPr lang="en-US" sz="2000">
                <a:latin typeface="Arial" panose="020B0604020202020204" pitchFamily="34" charset="0"/>
                <a:cs typeface="Arial" panose="020B0604020202020204" pitchFamily="34" charset="0"/>
              </a:rPr>
              <a:t> </a:t>
            </a:r>
            <a:r>
              <a:rPr lang="en-US" sz="2000" err="1">
                <a:latin typeface="Arial" panose="020B0604020202020204" pitchFamily="34" charset="0"/>
                <a:cs typeface="Arial" panose="020B0604020202020204" pitchFamily="34" charset="0"/>
              </a:rPr>
              <a:t>nhau</a:t>
            </a:r>
            <a:endParaRPr lang="en-US" sz="2000">
              <a:latin typeface="Arial" panose="020B0604020202020204" pitchFamily="34" charset="0"/>
              <a:cs typeface="Arial" panose="020B0604020202020204" pitchFamily="34" charset="0"/>
            </a:endParaRPr>
          </a:p>
          <a:p>
            <a:pPr>
              <a:lnSpc>
                <a:spcPct val="150000"/>
              </a:lnSpc>
            </a:pPr>
            <a:endParaRPr lang="vi-VN" sz="2000">
              <a:latin typeface="Arial" panose="020B0604020202020204" pitchFamily="34" charset="0"/>
              <a:cs typeface="Arial" panose="020B0604020202020204" pitchFamily="34" charset="0"/>
            </a:endParaRPr>
          </a:p>
        </p:txBody>
      </p:sp>
      <p:pic>
        <p:nvPicPr>
          <p:cNvPr id="3" name="Picture 3">
            <a:extLst>
              <a:ext uri="{FF2B5EF4-FFF2-40B4-BE49-F238E27FC236}">
                <a16:creationId xmlns:a16="http://schemas.microsoft.com/office/drawing/2014/main" id="{39A9979A-7F11-D7B7-875C-3397CBE493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2661" y="1515629"/>
            <a:ext cx="5069965" cy="4088681"/>
          </a:xfrm>
          <a:prstGeom prst="rect">
            <a:avLst/>
          </a:prstGeom>
        </p:spPr>
      </p:pic>
    </p:spTree>
    <p:extLst>
      <p:ext uri="{BB962C8B-B14F-4D97-AF65-F5344CB8AC3E}">
        <p14:creationId xmlns:p14="http://schemas.microsoft.com/office/powerpoint/2010/main" val="32773664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Freeform: Shape 67">
            <a:extLst>
              <a:ext uri="{FF2B5EF4-FFF2-40B4-BE49-F238E27FC236}">
                <a16:creationId xmlns:a16="http://schemas.microsoft.com/office/drawing/2014/main" id="{23F0C8A8-EBAB-4071-851C-3BBEB54BBBC4}"/>
              </a:ext>
            </a:extLst>
          </p:cNvPr>
          <p:cNvSpPr/>
          <p:nvPr/>
        </p:nvSpPr>
        <p:spPr>
          <a:xfrm>
            <a:off x="-1" y="-15498"/>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457200" algn="ctr">
              <a:lnSpc>
                <a:spcPct val="90000"/>
              </a:lnSpc>
              <a:spcBef>
                <a:spcPts val="1000"/>
              </a:spcBef>
              <a:buSzPct val="100000"/>
            </a:pPr>
            <a:endParaRPr lang="en-US">
              <a:latin typeface="Calibri" panose="020F0502020204030204" pitchFamily="34" charset="0"/>
            </a:endParaRPr>
          </a:p>
        </p:txBody>
      </p:sp>
      <p:sp>
        <p:nvSpPr>
          <p:cNvPr id="7" name="TextBox 6">
            <a:extLst>
              <a:ext uri="{FF2B5EF4-FFF2-40B4-BE49-F238E27FC236}">
                <a16:creationId xmlns:a16="http://schemas.microsoft.com/office/drawing/2014/main" id="{9065F0BC-0A5E-4161-BF7D-AC055EABC39D}"/>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Calibri" panose="020F0502020204030204" pitchFamily="34" charset="0"/>
            </a:endParaRPr>
          </a:p>
        </p:txBody>
      </p:sp>
      <p:sp>
        <p:nvSpPr>
          <p:cNvPr id="59" name="Freeform: Shape 58">
            <a:extLst>
              <a:ext uri="{FF2B5EF4-FFF2-40B4-BE49-F238E27FC236}">
                <a16:creationId xmlns:a16="http://schemas.microsoft.com/office/drawing/2014/main" id="{F00AE12C-A10C-41C1-8465-D0A4833058B8}"/>
              </a:ext>
            </a:extLst>
          </p:cNvPr>
          <p:cNvSpPr/>
          <p:nvPr/>
        </p:nvSpPr>
        <p:spPr>
          <a:xfrm>
            <a:off x="6099994" y="0"/>
            <a:ext cx="609200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4" name="Group 83">
            <a:extLst>
              <a:ext uri="{FF2B5EF4-FFF2-40B4-BE49-F238E27FC236}">
                <a16:creationId xmlns:a16="http://schemas.microsoft.com/office/drawing/2014/main" id="{77A9DF55-6FC7-4D28-AA78-0E0A565BACE8}"/>
              </a:ext>
            </a:extLst>
          </p:cNvPr>
          <p:cNvGrpSpPr/>
          <p:nvPr/>
        </p:nvGrpSpPr>
        <p:grpSpPr>
          <a:xfrm flipH="1">
            <a:off x="7105709" y="256273"/>
            <a:ext cx="1065469" cy="767411"/>
            <a:chOff x="9631490" y="336605"/>
            <a:chExt cx="1065469" cy="767411"/>
          </a:xfrm>
        </p:grpSpPr>
        <p:sp>
          <p:nvSpPr>
            <p:cNvPr id="82" name="Freeform: Shape 81">
              <a:extLst>
                <a:ext uri="{FF2B5EF4-FFF2-40B4-BE49-F238E27FC236}">
                  <a16:creationId xmlns:a16="http://schemas.microsoft.com/office/drawing/2014/main" id="{C6B58C95-642B-4A6B-9665-BF2F065EA4F4}"/>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83" name="Freeform: Shape 82">
              <a:extLst>
                <a:ext uri="{FF2B5EF4-FFF2-40B4-BE49-F238E27FC236}">
                  <a16:creationId xmlns:a16="http://schemas.microsoft.com/office/drawing/2014/main" id="{28849551-1E20-4DF5-A99D-68D4B87801C0}"/>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grpSp>
        <p:nvGrpSpPr>
          <p:cNvPr id="2" name="Group 7">
            <a:extLst>
              <a:ext uri="{FF2B5EF4-FFF2-40B4-BE49-F238E27FC236}">
                <a16:creationId xmlns:a16="http://schemas.microsoft.com/office/drawing/2014/main" id="{487C5B63-E044-14AB-8EBE-B3CD55AA2C49}"/>
              </a:ext>
            </a:extLst>
          </p:cNvPr>
          <p:cNvGrpSpPr/>
          <p:nvPr/>
        </p:nvGrpSpPr>
        <p:grpSpPr>
          <a:xfrm>
            <a:off x="533401" y="492718"/>
            <a:ext cx="8075021" cy="965827"/>
            <a:chOff x="533401" y="492718"/>
            <a:chExt cx="8075021" cy="965827"/>
          </a:xfrm>
        </p:grpSpPr>
        <p:sp>
          <p:nvSpPr>
            <p:cNvPr id="3" name="TextBox 12">
              <a:extLst>
                <a:ext uri="{FF2B5EF4-FFF2-40B4-BE49-F238E27FC236}">
                  <a16:creationId xmlns:a16="http://schemas.microsoft.com/office/drawing/2014/main" id="{37F181D4-A2E5-71CF-0D78-799B77CC97D8}"/>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ED8E3DAF-D0AD-0175-39A8-142F864C715F}"/>
                </a:ext>
              </a:extLst>
            </p:cNvPr>
            <p:cNvSpPr txBox="1"/>
            <p:nvPr/>
          </p:nvSpPr>
          <p:spPr>
            <a:xfrm>
              <a:off x="533401" y="966102"/>
              <a:ext cx="8075021" cy="492443"/>
            </a:xfrm>
            <a:prstGeom prst="rect">
              <a:avLst/>
            </a:prstGeom>
            <a:noFill/>
          </p:spPr>
          <p:txBody>
            <a:bodyPr wrap="square" lIns="0" tIns="0" rIns="0" bIns="0" rtlCol="0" anchor="t">
              <a:spAutoFit/>
            </a:bodyPr>
            <a:lstStyle/>
            <a:p>
              <a:r>
                <a:rPr lang="vi-VN" sz="3200" b="1">
                  <a:latin typeface="Arial" panose="020B0604020202020204" pitchFamily="34" charset="0"/>
                  <a:ea typeface="Segoe UI Black" panose="020B0A02040204020203" pitchFamily="34" charset="0"/>
                  <a:cs typeface="Arial" panose="020B0604020202020204" pitchFamily="34" charset="0"/>
                </a:rPr>
                <a:t>2</a:t>
              </a:r>
              <a:r>
                <a:rPr lang="es-ES" sz="3200" b="1">
                  <a:latin typeface="Arial" panose="020B0604020202020204" pitchFamily="34" charset="0"/>
                  <a:ea typeface="Segoe UI Black" panose="020B0A02040204020203" pitchFamily="34" charset="0"/>
                  <a:cs typeface="Arial" panose="020B0604020202020204" pitchFamily="34" charset="0"/>
                </a:rPr>
                <a:t>. </a:t>
              </a:r>
              <a:r>
                <a:rPr lang="vi-VN" sz="3200" b="1">
                  <a:latin typeface="Arial" panose="020B0604020202020204" pitchFamily="34" charset="0"/>
                  <a:ea typeface="Segoe UI Black" panose="020B0A02040204020203" pitchFamily="34" charset="0"/>
                  <a:cs typeface="Arial" panose="020B0604020202020204" pitchFamily="34" charset="0"/>
                </a:rPr>
                <a:t>Đánh giá xâm lấn, di căn</a:t>
              </a:r>
              <a:endParaRPr lang="en-US" sz="3200" b="1">
                <a:latin typeface="Arial" panose="020B0604020202020204" pitchFamily="34" charset="0"/>
                <a:ea typeface="Segoe UI Black" panose="020B0A02040204020203" pitchFamily="34" charset="0"/>
                <a:cs typeface="Arial" panose="020B0604020202020204" pitchFamily="34" charset="0"/>
              </a:endParaRPr>
            </a:p>
          </p:txBody>
        </p:sp>
      </p:grpSp>
      <p:graphicFrame>
        <p:nvGraphicFramePr>
          <p:cNvPr id="5" name="Bảng 4">
            <a:extLst>
              <a:ext uri="{FF2B5EF4-FFF2-40B4-BE49-F238E27FC236}">
                <a16:creationId xmlns:a16="http://schemas.microsoft.com/office/drawing/2014/main" id="{4F406570-EEA7-1F70-CA38-38AE0E4AD4B8}"/>
              </a:ext>
            </a:extLst>
          </p:cNvPr>
          <p:cNvGraphicFramePr>
            <a:graphicFrameLocks noGrp="1"/>
          </p:cNvGraphicFramePr>
          <p:nvPr>
            <p:extLst>
              <p:ext uri="{D42A27DB-BD31-4B8C-83A1-F6EECF244321}">
                <p14:modId xmlns:p14="http://schemas.microsoft.com/office/powerpoint/2010/main" val="2821202282"/>
              </p:ext>
            </p:extLst>
          </p:nvPr>
        </p:nvGraphicFramePr>
        <p:xfrm>
          <a:off x="479154" y="1558521"/>
          <a:ext cx="11166329" cy="4109124"/>
        </p:xfrm>
        <a:graphic>
          <a:graphicData uri="http://schemas.openxmlformats.org/drawingml/2006/table">
            <a:tbl>
              <a:tblPr firstRow="1" bandRow="1">
                <a:tableStyleId>{5C22544A-7EE6-4342-B048-85BDC9FD1C3A}</a:tableStyleId>
              </a:tblPr>
              <a:tblGrid>
                <a:gridCol w="1175288">
                  <a:extLst>
                    <a:ext uri="{9D8B030D-6E8A-4147-A177-3AD203B41FA5}">
                      <a16:colId xmlns:a16="http://schemas.microsoft.com/office/drawing/2014/main" val="2493347586"/>
                    </a:ext>
                  </a:extLst>
                </a:gridCol>
                <a:gridCol w="2816144">
                  <a:extLst>
                    <a:ext uri="{9D8B030D-6E8A-4147-A177-3AD203B41FA5}">
                      <a16:colId xmlns:a16="http://schemas.microsoft.com/office/drawing/2014/main" val="4277463567"/>
                    </a:ext>
                  </a:extLst>
                </a:gridCol>
                <a:gridCol w="4815579">
                  <a:extLst>
                    <a:ext uri="{9D8B030D-6E8A-4147-A177-3AD203B41FA5}">
                      <a16:colId xmlns:a16="http://schemas.microsoft.com/office/drawing/2014/main" val="1818354216"/>
                    </a:ext>
                  </a:extLst>
                </a:gridCol>
                <a:gridCol w="2359318">
                  <a:extLst>
                    <a:ext uri="{9D8B030D-6E8A-4147-A177-3AD203B41FA5}">
                      <a16:colId xmlns:a16="http://schemas.microsoft.com/office/drawing/2014/main" val="2455640734"/>
                    </a:ext>
                  </a:extLst>
                </a:gridCol>
              </a:tblGrid>
              <a:tr h="344225">
                <a:tc>
                  <a:txBody>
                    <a:bodyPr/>
                    <a:lstStyle/>
                    <a:p>
                      <a:endParaRPr lang="vi-VN">
                        <a:latin typeface="+mn-lt"/>
                      </a:endParaRPr>
                    </a:p>
                  </a:txBody>
                  <a:tcPr/>
                </a:tc>
                <a:tc>
                  <a:txBody>
                    <a:bodyPr/>
                    <a:lstStyle/>
                    <a:p>
                      <a:r>
                        <a:rPr lang="vi-VN">
                          <a:latin typeface="+mn-lt"/>
                        </a:rPr>
                        <a:t>U có thể cắt</a:t>
                      </a:r>
                    </a:p>
                  </a:txBody>
                  <a:tcPr/>
                </a:tc>
                <a:tc>
                  <a:txBody>
                    <a:bodyPr/>
                    <a:lstStyle/>
                    <a:p>
                      <a:r>
                        <a:rPr lang="vi-VN">
                          <a:latin typeface="+mn-lt"/>
                        </a:rPr>
                        <a:t>U giáp biên</a:t>
                      </a:r>
                    </a:p>
                  </a:txBody>
                  <a:tcPr/>
                </a:tc>
                <a:tc>
                  <a:txBody>
                    <a:bodyPr/>
                    <a:lstStyle/>
                    <a:p>
                      <a:r>
                        <a:rPr lang="vi-VN">
                          <a:latin typeface="+mn-lt"/>
                        </a:rPr>
                        <a:t>U </a:t>
                      </a:r>
                      <a:r>
                        <a:rPr lang="en-US">
                          <a:latin typeface="Arial" panose="020B0604020202020204" pitchFamily="34" charset="0"/>
                          <a:cs typeface="Arial" panose="020B0604020202020204" pitchFamily="34" charset="0"/>
                        </a:rPr>
                        <a:t>tiến triển tại chỗ</a:t>
                      </a:r>
                      <a:endParaRPr lang="vi-VN">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74631118"/>
                  </a:ext>
                </a:extLst>
              </a:tr>
              <a:tr h="1893238">
                <a:tc>
                  <a:txBody>
                    <a:bodyPr/>
                    <a:lstStyle/>
                    <a:p>
                      <a:r>
                        <a:rPr lang="en-US" sz="1800" kern="1200">
                          <a:solidFill>
                            <a:schemeClr val="dk1"/>
                          </a:solidFill>
                          <a:latin typeface="Arial" panose="020B0604020202020204" pitchFamily="34" charset="0"/>
                          <a:ea typeface="+mn-ea"/>
                          <a:cs typeface="Arial" panose="020B0604020202020204" pitchFamily="34" charset="0"/>
                        </a:rPr>
                        <a:t>Động</a:t>
                      </a:r>
                      <a:r>
                        <a:rPr lang="en-US">
                          <a:latin typeface="Arial" panose="020B0604020202020204" pitchFamily="34" charset="0"/>
                          <a:cs typeface="Arial" panose="020B0604020202020204" pitchFamily="34" charset="0"/>
                        </a:rPr>
                        <a:t> </a:t>
                      </a:r>
                      <a:r>
                        <a:rPr lang="en-US" sz="1800" kern="1200">
                          <a:solidFill>
                            <a:schemeClr val="dk1"/>
                          </a:solidFill>
                          <a:latin typeface="Arial" panose="020B0604020202020204" pitchFamily="34" charset="0"/>
                          <a:ea typeface="+mn-ea"/>
                          <a:cs typeface="Arial" panose="020B0604020202020204" pitchFamily="34" charset="0"/>
                        </a:rPr>
                        <a:t>mạch</a:t>
                      </a:r>
                      <a:endParaRPr lang="vi-VN" sz="1800" kern="1200">
                        <a:solidFill>
                          <a:schemeClr val="dk1"/>
                        </a:solidFill>
                        <a:latin typeface="Arial" panose="020B0604020202020204" pitchFamily="34" charset="0"/>
                        <a:ea typeface="+mn-ea"/>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Không tiếp xúc động mạch (ĐMTT, ĐMGC, ĐMMTTT)</a:t>
                      </a:r>
                      <a:endParaRPr lang="vi-VN">
                        <a:latin typeface="Arial" panose="020B0604020202020204" pitchFamily="34" charset="0"/>
                        <a:cs typeface="Arial" panose="020B0604020202020204" pitchFamily="34" charset="0"/>
                      </a:endParaRPr>
                    </a:p>
                  </a:txBody>
                  <a:tcPr/>
                </a:tc>
                <a:tc>
                  <a:txBody>
                    <a:bodyPr/>
                    <a:lstStyle/>
                    <a:p>
                      <a:pPr marL="0" algn="l" defTabSz="457200" rtl="0" eaLnBrk="1" latinLnBrk="0" hangingPunct="1"/>
                      <a:r>
                        <a:rPr lang="en-US" sz="1800" kern="1200" dirty="0" err="1">
                          <a:solidFill>
                            <a:schemeClr val="dk1"/>
                          </a:solidFill>
                          <a:latin typeface="Arial" panose="020B0604020202020204" pitchFamily="34" charset="0"/>
                          <a:ea typeface="+mn-ea"/>
                          <a:cs typeface="Arial" panose="020B0604020202020204" pitchFamily="34" charset="0"/>
                        </a:rPr>
                        <a:t>Tiếp</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xúc</a:t>
                      </a:r>
                      <a:r>
                        <a:rPr lang="en-US" sz="1800" kern="1200" dirty="0">
                          <a:solidFill>
                            <a:schemeClr val="dk1"/>
                          </a:solidFill>
                          <a:latin typeface="Arial" panose="020B0604020202020204" pitchFamily="34" charset="0"/>
                          <a:ea typeface="+mn-ea"/>
                          <a:cs typeface="Arial" panose="020B0604020202020204" pitchFamily="34" charset="0"/>
                        </a:rPr>
                        <a:t> ĐMGC ĐMTT </a:t>
                      </a:r>
                      <a:r>
                        <a:rPr lang="en-US" sz="1800" kern="1200" dirty="0" err="1">
                          <a:solidFill>
                            <a:schemeClr val="dk1"/>
                          </a:solidFill>
                          <a:latin typeface="Arial" panose="020B0604020202020204" pitchFamily="34" charset="0"/>
                          <a:ea typeface="+mn-ea"/>
                          <a:cs typeface="Arial" panose="020B0604020202020204" pitchFamily="34" charset="0"/>
                        </a:rPr>
                        <a:t>mà</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không</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làm</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giãn</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hoặc</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tiếp</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xúc</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chỗ</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phân</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nhánh</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động</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mạch</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gan</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cho</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phép</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cắt</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và</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tái</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tạo</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hoàn</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toàn</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và</a:t>
                      </a:r>
                      <a:r>
                        <a:rPr lang="en-US" sz="1800" kern="1200" dirty="0">
                          <a:solidFill>
                            <a:schemeClr val="dk1"/>
                          </a:solidFill>
                          <a:latin typeface="Arial" panose="020B0604020202020204" pitchFamily="34" charset="0"/>
                          <a:ea typeface="+mn-ea"/>
                          <a:cs typeface="Arial" panose="020B0604020202020204" pitchFamily="34" charset="0"/>
                        </a:rPr>
                        <a:t> an </a:t>
                      </a:r>
                      <a:r>
                        <a:rPr lang="en-US" sz="1800" kern="1200" dirty="0" err="1">
                          <a:solidFill>
                            <a:schemeClr val="dk1"/>
                          </a:solidFill>
                          <a:latin typeface="Arial" panose="020B0604020202020204" pitchFamily="34" charset="0"/>
                          <a:ea typeface="+mn-ea"/>
                          <a:cs typeface="Arial" panose="020B0604020202020204" pitchFamily="34" charset="0"/>
                        </a:rPr>
                        <a:t>toàn</a:t>
                      </a:r>
                      <a:r>
                        <a:rPr lang="en-US" sz="1800" kern="1200" dirty="0">
                          <a:solidFill>
                            <a:schemeClr val="dk1"/>
                          </a:solidFill>
                          <a:latin typeface="Arial" panose="020B0604020202020204" pitchFamily="34" charset="0"/>
                          <a:ea typeface="+mn-ea"/>
                          <a:cs typeface="Arial" panose="020B0604020202020204" pitchFamily="34" charset="0"/>
                        </a:rPr>
                        <a:t>.</a:t>
                      </a:r>
                    </a:p>
                    <a:p>
                      <a:pPr marL="0" algn="l" defTabSz="457200" rtl="0" eaLnBrk="1" latinLnBrk="0" hangingPunct="1"/>
                      <a:r>
                        <a:rPr lang="en-US" sz="1800" kern="1200" dirty="0" err="1">
                          <a:solidFill>
                            <a:schemeClr val="dk1"/>
                          </a:solidFill>
                          <a:latin typeface="Arial" panose="020B0604020202020204" pitchFamily="34" charset="0"/>
                          <a:ea typeface="+mn-ea"/>
                          <a:cs typeface="Arial" panose="020B0604020202020204" pitchFamily="34" charset="0"/>
                        </a:rPr>
                        <a:t>Tiếp</a:t>
                      </a:r>
                      <a:r>
                        <a:rPr lang="en-US" sz="1800" kern="1200" dirty="0">
                          <a:solidFill>
                            <a:schemeClr val="dk1"/>
                          </a:solidFill>
                          <a:latin typeface="Arial" panose="020B0604020202020204" pitchFamily="34" charset="0"/>
                          <a:ea typeface="+mn-ea"/>
                          <a:cs typeface="Arial" panose="020B0604020202020204" pitchFamily="34" charset="0"/>
                        </a:rPr>
                        <a:t> </a:t>
                      </a:r>
                      <a:r>
                        <a:rPr lang="en-US" sz="1800" kern="1200" dirty="0" err="1">
                          <a:solidFill>
                            <a:schemeClr val="dk1"/>
                          </a:solidFill>
                          <a:latin typeface="Arial" panose="020B0604020202020204" pitchFamily="34" charset="0"/>
                          <a:ea typeface="+mn-ea"/>
                          <a:cs typeface="Arial" panose="020B0604020202020204" pitchFamily="34" charset="0"/>
                        </a:rPr>
                        <a:t>xúc</a:t>
                      </a:r>
                      <a:r>
                        <a:rPr lang="en-US" sz="1800" kern="1200" dirty="0">
                          <a:solidFill>
                            <a:schemeClr val="dk1"/>
                          </a:solidFill>
                          <a:latin typeface="Arial" panose="020B0604020202020204" pitchFamily="34" charset="0"/>
                          <a:ea typeface="+mn-ea"/>
                          <a:cs typeface="Arial" panose="020B0604020202020204" pitchFamily="34" charset="0"/>
                        </a:rPr>
                        <a:t> ≤ 180 </a:t>
                      </a:r>
                      <a:r>
                        <a:rPr lang="en-US" sz="1800" kern="1200" dirty="0" err="1">
                          <a:solidFill>
                            <a:schemeClr val="dk1"/>
                          </a:solidFill>
                          <a:latin typeface="Arial" panose="020B0604020202020204" pitchFamily="34" charset="0"/>
                          <a:ea typeface="+mn-ea"/>
                          <a:cs typeface="Arial" panose="020B0604020202020204" pitchFamily="34" charset="0"/>
                        </a:rPr>
                        <a:t>độ</a:t>
                      </a:r>
                      <a:r>
                        <a:rPr lang="en-US" sz="1800" kern="1200" dirty="0">
                          <a:solidFill>
                            <a:schemeClr val="dk1"/>
                          </a:solidFill>
                          <a:latin typeface="Arial" panose="020B0604020202020204" pitchFamily="34" charset="0"/>
                          <a:ea typeface="+mn-ea"/>
                          <a:cs typeface="Arial" panose="020B0604020202020204" pitchFamily="34" charset="0"/>
                        </a:rPr>
                        <a:t> ĐMMTTT</a:t>
                      </a:r>
                    </a:p>
                    <a:p>
                      <a:r>
                        <a:rPr lang="vi-VN" sz="1800" kern="1200" dirty="0">
                          <a:solidFill>
                            <a:schemeClr val="dk1"/>
                          </a:solidFill>
                          <a:latin typeface="+mn-lt"/>
                          <a:ea typeface="+mn-ea"/>
                          <a:cs typeface="+mn-cs"/>
                        </a:rPr>
                        <a:t>Tiếp xúc với biến thể giải phẫu động mạch.</a:t>
                      </a:r>
                    </a:p>
                    <a:p>
                      <a:endParaRPr lang="vi-VN" dirty="0">
                        <a:latin typeface="+mn-lt"/>
                      </a:endParaRPr>
                    </a:p>
                  </a:txBody>
                  <a:tcPr/>
                </a:tc>
                <a:tc>
                  <a:txBody>
                    <a:bodyPr/>
                    <a:lstStyle/>
                    <a:p>
                      <a:r>
                        <a:rPr lang="en-US">
                          <a:latin typeface="Arial" panose="020B0604020202020204" pitchFamily="34" charset="0"/>
                          <a:cs typeface="Arial" panose="020B0604020202020204" pitchFamily="34" charset="0"/>
                        </a:rPr>
                        <a:t>Tiếp xúc &gt; 180 độ ĐMMTTT, ĐMTT</a:t>
                      </a:r>
                      <a:endParaRPr lang="vi-VN">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20254927"/>
                  </a:ext>
                </a:extLst>
              </a:tr>
              <a:tr h="1731684">
                <a:tc>
                  <a:txBody>
                    <a:bodyPr/>
                    <a:lstStyle/>
                    <a:p>
                      <a:r>
                        <a:rPr lang="en-US">
                          <a:latin typeface="Arial" panose="020B0604020202020204" pitchFamily="34" charset="0"/>
                          <a:cs typeface="Arial" panose="020B0604020202020204" pitchFamily="34" charset="0"/>
                        </a:rPr>
                        <a:t>Tĩnh mạch</a:t>
                      </a:r>
                      <a:endParaRPr lang="vi-VN">
                        <a:latin typeface="Arial" panose="020B0604020202020204" pitchFamily="34" charset="0"/>
                        <a:cs typeface="Arial" panose="020B0604020202020204" pitchFamily="34" charset="0"/>
                      </a:endParaRPr>
                    </a:p>
                  </a:txBody>
                  <a:tcPr/>
                </a:tc>
                <a:tc>
                  <a:txBody>
                    <a:bodyPr/>
                    <a:lstStyle/>
                    <a:p>
                      <a:r>
                        <a:rPr lang="en-US">
                          <a:latin typeface="Arial" panose="020B0604020202020204" pitchFamily="34" charset="0"/>
                          <a:cs typeface="Arial" panose="020B0604020202020204" pitchFamily="34" charset="0"/>
                        </a:rPr>
                        <a:t>Không tiếp xúc tĩnh mạch (TMC, TMMTTT)  hoặc tiếp xúc dưới 180 độ mà không làm biến dạng chu vi </a:t>
                      </a:r>
                      <a:endParaRPr lang="vi-VN">
                        <a:latin typeface="Arial" panose="020B0604020202020204" pitchFamily="34" charset="0"/>
                        <a:cs typeface="Arial" panose="020B0604020202020204" pitchFamily="34" charset="0"/>
                      </a:endParaRPr>
                    </a:p>
                  </a:txBody>
                  <a:tcPr/>
                </a:tc>
                <a:tc>
                  <a:txBody>
                    <a:bodyPr/>
                    <a:lstStyle/>
                    <a:p>
                      <a:r>
                        <a:rPr lang="vi-VN">
                          <a:latin typeface="+mn-lt"/>
                        </a:rPr>
                        <a:t>Tiếp xúc với TMMTTT hoặc TMC &gt; 180 độ, tiếp xúc ≤ 180 độ với biến dạng chu vi tĩnh mạch hoặc huyết khối tĩnh mạch đoạn ngắn có khả năng cắt nối được. </a:t>
                      </a:r>
                    </a:p>
                  </a:txBody>
                  <a:tcPr/>
                </a:tc>
                <a:tc>
                  <a:txBody>
                    <a:bodyPr/>
                    <a:lstStyle/>
                    <a:p>
                      <a:r>
                        <a:rPr lang="en-US" dirty="0" err="1">
                          <a:latin typeface="Arial" panose="020B0604020202020204" pitchFamily="34" charset="0"/>
                          <a:cs typeface="Arial" panose="020B0604020202020204" pitchFamily="34" charset="0"/>
                        </a:rPr>
                        <a:t>Kh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ể</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o</a:t>
                      </a:r>
                      <a:r>
                        <a:rPr lang="en-US" dirty="0">
                          <a:latin typeface="Arial" panose="020B0604020202020204" pitchFamily="34" charset="0"/>
                          <a:cs typeface="Arial" panose="020B0604020202020204" pitchFamily="34" charset="0"/>
                        </a:rPr>
                        <a:t> </a:t>
                      </a:r>
                      <a:r>
                        <a:rPr lang="vi-VN" dirty="0">
                          <a:latin typeface="Arial" panose="020B0604020202020204" pitchFamily="34" charset="0"/>
                          <a:cs typeface="Arial" panose="020B0604020202020204" pitchFamily="34" charset="0"/>
                        </a:rPr>
                        <a:t>TM</a:t>
                      </a:r>
                      <a:r>
                        <a:rPr lang="en-US" dirty="0">
                          <a:latin typeface="Arial" panose="020B0604020202020204" pitchFamily="34" charset="0"/>
                          <a:cs typeface="Arial" panose="020B0604020202020204" pitchFamily="34" charset="0"/>
                        </a:rPr>
                        <a:t>MTTT, TMC do u </a:t>
                      </a:r>
                      <a:r>
                        <a:rPr lang="en-US" dirty="0" err="1">
                          <a:latin typeface="Arial" panose="020B0604020202020204" pitchFamily="34" charset="0"/>
                          <a:cs typeface="Arial" panose="020B0604020202020204" pitchFamily="34" charset="0"/>
                        </a:rPr>
                        <a:t>xâ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ấ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oắ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ây</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ắc</a:t>
                      </a:r>
                      <a:endParaRPr lang="vi-VN"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94648892"/>
                  </a:ext>
                </a:extLst>
              </a:tr>
            </a:tbl>
          </a:graphicData>
        </a:graphic>
      </p:graphicFrame>
      <p:sp>
        <p:nvSpPr>
          <p:cNvPr id="6" name="Hộp Văn bản 5">
            <a:extLst>
              <a:ext uri="{FF2B5EF4-FFF2-40B4-BE49-F238E27FC236}">
                <a16:creationId xmlns:a16="http://schemas.microsoft.com/office/drawing/2014/main" id="{B9521BB9-8E5A-B810-DDAC-AA48F883B12C}"/>
              </a:ext>
            </a:extLst>
          </p:cNvPr>
          <p:cNvSpPr txBox="1"/>
          <p:nvPr/>
        </p:nvSpPr>
        <p:spPr>
          <a:xfrm>
            <a:off x="0" y="6396335"/>
            <a:ext cx="9326336" cy="553998"/>
          </a:xfrm>
          <a:prstGeom prst="rect">
            <a:avLst/>
          </a:prstGeom>
          <a:noFill/>
        </p:spPr>
        <p:txBody>
          <a:bodyPr wrap="square">
            <a:spAutoFit/>
          </a:bodyPr>
          <a:lstStyle/>
          <a:p>
            <a:pPr algn="l"/>
            <a:r>
              <a:rPr lang="en-US" sz="1000" b="0" i="0">
                <a:effectLst/>
                <a:latin typeface="Arial" panose="020B0604020202020204" pitchFamily="34" charset="0"/>
                <a:cs typeface="Arial" panose="020B0604020202020204" pitchFamily="34" charset="0"/>
              </a:rPr>
              <a:t>National Comprehensive Cancer Network (NCCN). NCCN clinical practice guidelines in oncology.</a:t>
            </a:r>
          </a:p>
          <a:p>
            <a:br>
              <a:rPr lang="en-US" sz="1000" b="0" i="0">
                <a:solidFill>
                  <a:srgbClr val="1C1E21"/>
                </a:solidFill>
                <a:effectLst/>
                <a:latin typeface="Arial" panose="020B0604020202020204" pitchFamily="34" charset="0"/>
                <a:cs typeface="Arial" panose="020B0604020202020204" pitchFamily="34" charset="0"/>
              </a:rPr>
            </a:br>
            <a:endParaRPr lang="vi-VN" sz="1000">
              <a:latin typeface="Arial" panose="020B0604020202020204" pitchFamily="34" charset="0"/>
              <a:cs typeface="Arial" panose="020B0604020202020204" pitchFamily="34" charset="0"/>
            </a:endParaRPr>
          </a:p>
        </p:txBody>
      </p:sp>
      <p:sp>
        <p:nvSpPr>
          <p:cNvPr id="8" name="Hộp Văn bản 7">
            <a:extLst>
              <a:ext uri="{FF2B5EF4-FFF2-40B4-BE49-F238E27FC236}">
                <a16:creationId xmlns:a16="http://schemas.microsoft.com/office/drawing/2014/main" id="{7DB6E6E5-4F69-1609-AEA4-85903517C7FA}"/>
              </a:ext>
            </a:extLst>
          </p:cNvPr>
          <p:cNvSpPr txBox="1"/>
          <p:nvPr/>
        </p:nvSpPr>
        <p:spPr>
          <a:xfrm>
            <a:off x="597876" y="5750004"/>
            <a:ext cx="10928887"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ĐMTT: động mạch thân tạng, ĐMGC: động mạch gan chung,  ĐMMTTT: động mạch mạc treo tràng trên, TMC: tĩnh mạch cửa, TMMTTT: tĩnh mạch mạc treo tràng trên</a:t>
            </a:r>
            <a:endParaRPr lang="vi-VN">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84194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ộp Văn bản 2">
            <a:extLst>
              <a:ext uri="{FF2B5EF4-FFF2-40B4-BE49-F238E27FC236}">
                <a16:creationId xmlns:a16="http://schemas.microsoft.com/office/drawing/2014/main" id="{01718668-B734-4583-3136-D3A86F75358C}"/>
              </a:ext>
            </a:extLst>
          </p:cNvPr>
          <p:cNvSpPr txBox="1"/>
          <p:nvPr/>
        </p:nvSpPr>
        <p:spPr>
          <a:xfrm>
            <a:off x="178895" y="924870"/>
            <a:ext cx="6679516" cy="2585323"/>
          </a:xfrm>
          <a:prstGeom prst="rect">
            <a:avLst/>
          </a:prstGeom>
          <a:solidFill>
            <a:schemeClr val="bg1">
              <a:lumMod val="95000"/>
              <a:alpha val="50000"/>
            </a:schemeClr>
          </a:solidFill>
        </p:spPr>
        <p:txBody>
          <a:bodyPr wrap="square" rtlCol="0">
            <a:spAutoFit/>
          </a:bodyPr>
          <a:lstStyle/>
          <a:p>
            <a:r>
              <a:rPr lang="vi-VN" b="1" u="sng" dirty="0"/>
              <a:t>Đánh giá xâm lấn:</a:t>
            </a:r>
          </a:p>
          <a:p>
            <a:r>
              <a:rPr lang="vi-VN" u="sng" dirty="0"/>
              <a:t>CT bụng: </a:t>
            </a:r>
          </a:p>
          <a:p>
            <a:pPr marL="285750" indent="-285750">
              <a:buFontTx/>
              <a:buChar char="-"/>
            </a:pPr>
            <a:r>
              <a:rPr lang="vi-VN" dirty="0"/>
              <a:t>Độ nhạy 90% trong đánh giá xâm lấn mạch máu [1] </a:t>
            </a:r>
          </a:p>
          <a:p>
            <a:pPr marL="285750" indent="-285750">
              <a:buFontTx/>
              <a:buChar char="-"/>
            </a:pPr>
            <a:r>
              <a:rPr lang="vi-VN" dirty="0"/>
              <a:t>Đối với u không thể cắt được, PPV 89-100% [2]</a:t>
            </a:r>
          </a:p>
          <a:p>
            <a:pPr marL="285750" indent="-285750">
              <a:buFontTx/>
              <a:buChar char="-"/>
            </a:pPr>
            <a:r>
              <a:rPr lang="vi-VN" dirty="0"/>
              <a:t>Đối với u có thể cắt được, PPV 45-79% [2]</a:t>
            </a:r>
          </a:p>
          <a:p>
            <a:r>
              <a:rPr lang="vi-VN" u="sng" dirty="0"/>
              <a:t>MRI bụng</a:t>
            </a:r>
            <a:r>
              <a:rPr lang="vi-VN" dirty="0"/>
              <a:t>: chưa có bằng chứng cho thấy tốt hơn CT [3]</a:t>
            </a:r>
          </a:p>
          <a:p>
            <a:r>
              <a:rPr lang="vi-VN" u="sng" dirty="0"/>
              <a:t>EUS</a:t>
            </a:r>
            <a:r>
              <a:rPr lang="vi-VN" dirty="0"/>
              <a:t>: đánh giá tình trạng xâm lấn tốt hơn CT [2] nhưng NCCN không khuyến cáo trong u tụy</a:t>
            </a:r>
            <a:endParaRPr lang="vi-VN" dirty="0">
              <a:highlight>
                <a:srgbClr val="FFFF00"/>
              </a:highlight>
            </a:endParaRPr>
          </a:p>
          <a:p>
            <a:r>
              <a:rPr lang="vi-VN" dirty="0">
                <a:highlight>
                  <a:srgbClr val="FFFF00"/>
                </a:highlight>
              </a:rPr>
              <a:t>- Đánh giá di căn xa dở hơn CT [3]</a:t>
            </a:r>
            <a:endParaRPr lang="en-US" dirty="0">
              <a:highlight>
                <a:srgbClr val="FFFF00"/>
              </a:highlight>
            </a:endParaRPr>
          </a:p>
        </p:txBody>
      </p:sp>
      <p:sp>
        <p:nvSpPr>
          <p:cNvPr id="10" name="Freeform: Shape 16">
            <a:extLst>
              <a:ext uri="{FF2B5EF4-FFF2-40B4-BE49-F238E27FC236}">
                <a16:creationId xmlns:a16="http://schemas.microsoft.com/office/drawing/2014/main" id="{1A6B066F-D778-86DA-73D0-AFBFC1FF5249}"/>
              </a:ext>
            </a:extLst>
          </p:cNvPr>
          <p:cNvSpPr/>
          <p:nvPr/>
        </p:nvSpPr>
        <p:spPr>
          <a:xfrm rot="10800000">
            <a:off x="5212079" y="-15498"/>
            <a:ext cx="697991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1" name="Group 184">
            <a:extLst>
              <a:ext uri="{FF2B5EF4-FFF2-40B4-BE49-F238E27FC236}">
                <a16:creationId xmlns:a16="http://schemas.microsoft.com/office/drawing/2014/main" id="{31053A14-0F31-B1CD-A5A0-42A27645A2A8}"/>
              </a:ext>
            </a:extLst>
          </p:cNvPr>
          <p:cNvGrpSpPr/>
          <p:nvPr/>
        </p:nvGrpSpPr>
        <p:grpSpPr>
          <a:xfrm>
            <a:off x="9743472" y="139207"/>
            <a:ext cx="1165214" cy="931489"/>
            <a:chOff x="10053740" y="592613"/>
            <a:chExt cx="1072349" cy="857252"/>
          </a:xfrm>
        </p:grpSpPr>
        <p:sp>
          <p:nvSpPr>
            <p:cNvPr id="12" name="Freeform: Shape 182">
              <a:extLst>
                <a:ext uri="{FF2B5EF4-FFF2-40B4-BE49-F238E27FC236}">
                  <a16:creationId xmlns:a16="http://schemas.microsoft.com/office/drawing/2014/main" id="{E0B21156-4418-1389-E015-FBD724A21936}"/>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3" name="Freeform: Shape 183">
              <a:extLst>
                <a:ext uri="{FF2B5EF4-FFF2-40B4-BE49-F238E27FC236}">
                  <a16:creationId xmlns:a16="http://schemas.microsoft.com/office/drawing/2014/main" id="{EF9B4634-329E-40D1-5F10-A136022896FA}"/>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14" name="Freeform: Shape 14">
            <a:extLst>
              <a:ext uri="{FF2B5EF4-FFF2-40B4-BE49-F238E27FC236}">
                <a16:creationId xmlns:a16="http://schemas.microsoft.com/office/drawing/2014/main" id="{5F4FEDBC-4514-A78D-2345-96D7E4E8C587}"/>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 name="Tiêu đề 1">
            <a:extLst>
              <a:ext uri="{FF2B5EF4-FFF2-40B4-BE49-F238E27FC236}">
                <a16:creationId xmlns:a16="http://schemas.microsoft.com/office/drawing/2014/main" id="{C10C4D63-606F-0638-1DED-5A02C169F4BF}"/>
              </a:ext>
            </a:extLst>
          </p:cNvPr>
          <p:cNvSpPr>
            <a:spLocks noGrp="1"/>
          </p:cNvSpPr>
          <p:nvPr>
            <p:ph type="title"/>
          </p:nvPr>
        </p:nvSpPr>
        <p:spPr/>
        <p:txBody>
          <a:bodyPr>
            <a:normAutofit/>
          </a:bodyPr>
          <a:lstStyle/>
          <a:p>
            <a:r>
              <a:rPr lang="vi-VN" sz="3200" dirty="0">
                <a:latin typeface="Arial" panose="020B0604020202020204" pitchFamily="34" charset="0"/>
                <a:cs typeface="Arial" panose="020B0604020202020204" pitchFamily="34" charset="0"/>
              </a:rPr>
              <a:t>2. Đánh giá xâm lấn, di căn</a:t>
            </a:r>
          </a:p>
        </p:txBody>
      </p:sp>
      <p:sp>
        <p:nvSpPr>
          <p:cNvPr id="5" name="Hộp Văn bản 4">
            <a:extLst>
              <a:ext uri="{FF2B5EF4-FFF2-40B4-BE49-F238E27FC236}">
                <a16:creationId xmlns:a16="http://schemas.microsoft.com/office/drawing/2014/main" id="{65EEF70B-A428-117F-8E70-2BD97CD5E3CE}"/>
              </a:ext>
            </a:extLst>
          </p:cNvPr>
          <p:cNvSpPr txBox="1"/>
          <p:nvPr/>
        </p:nvSpPr>
        <p:spPr>
          <a:xfrm>
            <a:off x="178895" y="5992285"/>
            <a:ext cx="10609897" cy="1015663"/>
          </a:xfrm>
          <a:prstGeom prst="rect">
            <a:avLst/>
          </a:prstGeom>
          <a:noFill/>
        </p:spPr>
        <p:txBody>
          <a:bodyPr wrap="square">
            <a:spAutoFit/>
          </a:bodyPr>
          <a:lstStyle/>
          <a:p>
            <a:r>
              <a:rPr lang="vi-VN" sz="1000" dirty="0">
                <a:latin typeface="Arial" panose="020B0604020202020204" pitchFamily="34" charset="0"/>
                <a:cs typeface="Arial" panose="020B0604020202020204" pitchFamily="34" charset="0"/>
              </a:rPr>
              <a:t>[1] Katherin E. Poruk, John L Cameron (2019). Pancreatic and periampullary cancer, in </a:t>
            </a:r>
            <a:r>
              <a:rPr lang="en-US" sz="1000" dirty="0">
                <a:effectLst/>
                <a:latin typeface="Arial" panose="020B0604020202020204" pitchFamily="34" charset="0"/>
                <a:cs typeface="Arial" panose="020B0604020202020204" pitchFamily="34" charset="0"/>
              </a:rPr>
              <a:t>Shackelford’s Surgery of the Alimentary Tract 8th edit.</a:t>
            </a:r>
            <a:endParaRPr lang="vi-VN" sz="1000" dirty="0">
              <a:effectLst/>
              <a:latin typeface="Arial" panose="020B0604020202020204" pitchFamily="34" charset="0"/>
              <a:cs typeface="Arial" panose="020B0604020202020204" pitchFamily="34" charset="0"/>
            </a:endParaRPr>
          </a:p>
          <a:p>
            <a:r>
              <a:rPr lang="vi-VN" sz="1000" dirty="0">
                <a:latin typeface="Arial" panose="020B0604020202020204" pitchFamily="34" charset="0"/>
                <a:cs typeface="Arial" panose="020B0604020202020204" pitchFamily="34" charset="0"/>
              </a:rPr>
              <a:t>[2]</a:t>
            </a:r>
            <a:r>
              <a:rPr lang="en-US" sz="1000" dirty="0">
                <a:latin typeface="Arial" panose="020B0604020202020204" pitchFamily="34" charset="0"/>
                <a:cs typeface="Arial" panose="020B0604020202020204" pitchFamily="34" charset="0"/>
              </a:rPr>
              <a:t> Phan Minh </a:t>
            </a:r>
            <a:r>
              <a:rPr lang="en-US" sz="1000" dirty="0" err="1">
                <a:latin typeface="Arial" panose="020B0604020202020204" pitchFamily="34" charset="0"/>
                <a:cs typeface="Arial" panose="020B0604020202020204" pitchFamily="34" charset="0"/>
              </a:rPr>
              <a:t>Trí</a:t>
            </a:r>
            <a:r>
              <a:rPr lang="en-US" sz="1000" dirty="0">
                <a:latin typeface="Arial" panose="020B0604020202020204" pitchFamily="34" charset="0"/>
                <a:cs typeface="Arial" panose="020B0604020202020204" pitchFamily="34" charset="0"/>
              </a:rPr>
              <a:t>. Ung </a:t>
            </a:r>
            <a:r>
              <a:rPr lang="en-US" sz="1000" dirty="0" err="1">
                <a:latin typeface="Arial" panose="020B0604020202020204" pitchFamily="34" charset="0"/>
                <a:cs typeface="Arial" panose="020B0604020202020204" pitchFamily="34" charset="0"/>
              </a:rPr>
              <a:t>thư</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quanh</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bóng</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vater</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Bệnh</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học</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Ngoại</a:t>
            </a:r>
            <a:r>
              <a:rPr lang="en-US" sz="1000" dirty="0">
                <a:latin typeface="Arial" panose="020B0604020202020204" pitchFamily="34" charset="0"/>
                <a:cs typeface="Arial" panose="020B0604020202020204" pitchFamily="34" charset="0"/>
              </a:rPr>
              <a:t> khao </a:t>
            </a:r>
            <a:r>
              <a:rPr lang="en-US" sz="1000" dirty="0" err="1">
                <a:latin typeface="Arial" panose="020B0604020202020204" pitchFamily="34" charset="0"/>
                <a:cs typeface="Arial" panose="020B0604020202020204" pitchFamily="34" charset="0"/>
              </a:rPr>
              <a:t>Tiêu</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hóa</a:t>
            </a:r>
            <a:r>
              <a:rPr lang="en-US" sz="1000" dirty="0">
                <a:latin typeface="Arial" panose="020B0604020202020204" pitchFamily="34" charset="0"/>
                <a:cs typeface="Arial" panose="020B0604020202020204" pitchFamily="34" charset="0"/>
              </a:rPr>
              <a:t>. 2021</a:t>
            </a:r>
            <a:endParaRPr lang="vi-VN" sz="1000" dirty="0">
              <a:latin typeface="Arial" panose="020B0604020202020204" pitchFamily="34" charset="0"/>
              <a:cs typeface="Arial" panose="020B0604020202020204" pitchFamily="34" charset="0"/>
            </a:endParaRPr>
          </a:p>
          <a:p>
            <a:r>
              <a:rPr lang="vi-VN" sz="1000" dirty="0">
                <a:latin typeface="Arial" panose="020B0604020202020204" pitchFamily="34" charset="0"/>
                <a:cs typeface="Arial" panose="020B0604020202020204" pitchFamily="34" charset="0"/>
              </a:rPr>
              <a:t>[3]</a:t>
            </a:r>
            <a:r>
              <a:rPr lang="en-US" sz="1000" dirty="0">
                <a:latin typeface="Arial" panose="020B0604020202020204" pitchFamily="34" charset="0"/>
                <a:cs typeface="Arial" panose="020B0604020202020204" pitchFamily="34" charset="0"/>
              </a:rPr>
              <a:t> Carlos Castillo. Clinical manifestations, diagnosis, and staging of exocrine pancreatic cancer. </a:t>
            </a:r>
            <a:r>
              <a:rPr lang="en-US" sz="1000" dirty="0" err="1">
                <a:latin typeface="Arial" panose="020B0604020202020204" pitchFamily="34" charset="0"/>
                <a:cs typeface="Arial" panose="020B0604020202020204" pitchFamily="34" charset="0"/>
              </a:rPr>
              <a:t>Uptodate</a:t>
            </a:r>
            <a:r>
              <a:rPr lang="en-US" sz="1000" dirty="0">
                <a:latin typeface="Arial" panose="020B0604020202020204" pitchFamily="34" charset="0"/>
                <a:cs typeface="Arial" panose="020B0604020202020204" pitchFamily="34" charset="0"/>
              </a:rPr>
              <a:t> 2022.</a:t>
            </a:r>
          </a:p>
          <a:p>
            <a:r>
              <a:rPr lang="en-US" sz="1000" dirty="0">
                <a:latin typeface="Arial" panose="020B0604020202020204" pitchFamily="34" charset="0"/>
                <a:cs typeface="Arial" panose="020B0604020202020204" pitchFamily="34" charset="0"/>
              </a:rPr>
              <a:t>[4] Al-</a:t>
            </a:r>
            <a:r>
              <a:rPr lang="en-US" sz="1000" dirty="0" err="1">
                <a:latin typeface="Arial" panose="020B0604020202020204" pitchFamily="34" charset="0"/>
                <a:cs typeface="Arial" panose="020B0604020202020204" pitchFamily="34" charset="0"/>
              </a:rPr>
              <a:t>Hawary</a:t>
            </a:r>
            <a:r>
              <a:rPr lang="en-US" sz="1000" dirty="0">
                <a:latin typeface="Arial" panose="020B0604020202020204" pitchFamily="34" charset="0"/>
                <a:cs typeface="Arial" panose="020B0604020202020204" pitchFamily="34" charset="0"/>
              </a:rPr>
              <a:t> MM, Francis IR, Chari ST, Fishman EK, Hough DM, Lu DS, </a:t>
            </a:r>
            <a:r>
              <a:rPr lang="en-US" sz="1000" dirty="0" err="1">
                <a:latin typeface="Arial" panose="020B0604020202020204" pitchFamily="34" charset="0"/>
                <a:cs typeface="Arial" panose="020B0604020202020204" pitchFamily="34" charset="0"/>
              </a:rPr>
              <a:t>Macari</a:t>
            </a:r>
            <a:r>
              <a:rPr lang="en-US" sz="1000" dirty="0">
                <a:latin typeface="Arial" panose="020B0604020202020204" pitchFamily="34" charset="0"/>
                <a:cs typeface="Arial" panose="020B0604020202020204" pitchFamily="34" charset="0"/>
              </a:rPr>
              <a:t> M, </a:t>
            </a:r>
            <a:r>
              <a:rPr lang="en-US" sz="1000" dirty="0" err="1">
                <a:latin typeface="Arial" panose="020B0604020202020204" pitchFamily="34" charset="0"/>
                <a:cs typeface="Arial" panose="020B0604020202020204" pitchFamily="34" charset="0"/>
              </a:rPr>
              <a:t>Megibow</a:t>
            </a:r>
            <a:r>
              <a:rPr lang="en-US" sz="1000" dirty="0">
                <a:latin typeface="Arial" panose="020B0604020202020204" pitchFamily="34" charset="0"/>
                <a:cs typeface="Arial" panose="020B0604020202020204" pitchFamily="34" charset="0"/>
              </a:rPr>
              <a:t> AJ, Miller FH, </a:t>
            </a:r>
            <a:r>
              <a:rPr lang="en-US" sz="1000" dirty="0" err="1">
                <a:latin typeface="Arial" panose="020B0604020202020204" pitchFamily="34" charset="0"/>
                <a:cs typeface="Arial" panose="020B0604020202020204" pitchFamily="34" charset="0"/>
              </a:rPr>
              <a:t>Mortele</a:t>
            </a:r>
            <a:r>
              <a:rPr lang="en-US" sz="1000" dirty="0">
                <a:latin typeface="Arial" panose="020B0604020202020204" pitchFamily="34" charset="0"/>
                <a:cs typeface="Arial" panose="020B0604020202020204" pitchFamily="34" charset="0"/>
              </a:rPr>
              <a:t> KJ, Merchant NB, Minter RM, Tamm EP, </a:t>
            </a:r>
            <a:r>
              <a:rPr lang="en-US" sz="1000" dirty="0" err="1">
                <a:latin typeface="Arial" panose="020B0604020202020204" pitchFamily="34" charset="0"/>
                <a:cs typeface="Arial" panose="020B0604020202020204" pitchFamily="34" charset="0"/>
              </a:rPr>
              <a:t>Sahani</a:t>
            </a:r>
            <a:r>
              <a:rPr lang="en-US" sz="1000" dirty="0">
                <a:latin typeface="Arial" panose="020B0604020202020204" pitchFamily="34" charset="0"/>
                <a:cs typeface="Arial" panose="020B0604020202020204" pitchFamily="34" charset="0"/>
              </a:rPr>
              <a:t> DV, Simeone DM. Pancreatic ductal adenocarcinoma radiology reporting template: consensus statement of the society of abdominal radiology and the </a:t>
            </a:r>
            <a:r>
              <a:rPr lang="en-US" sz="1000" dirty="0" err="1">
                <a:latin typeface="Arial" panose="020B0604020202020204" pitchFamily="34" charset="0"/>
                <a:cs typeface="Arial" panose="020B0604020202020204" pitchFamily="34" charset="0"/>
              </a:rPr>
              <a:t>american</a:t>
            </a:r>
            <a:r>
              <a:rPr lang="en-US" sz="1000" dirty="0">
                <a:latin typeface="Arial" panose="020B0604020202020204" pitchFamily="34" charset="0"/>
                <a:cs typeface="Arial" panose="020B0604020202020204" pitchFamily="34" charset="0"/>
              </a:rPr>
              <a:t> pancreatic association. Gastroenterology. </a:t>
            </a:r>
            <a:endParaRPr lang="vi-VN" sz="1000" dirty="0">
              <a:latin typeface="Arial" panose="020B0604020202020204" pitchFamily="34" charset="0"/>
              <a:cs typeface="Arial" panose="020B0604020202020204" pitchFamily="34" charset="0"/>
            </a:endParaRPr>
          </a:p>
          <a:p>
            <a:endParaRPr lang="vi-VN" sz="1000" dirty="0">
              <a:latin typeface="Arial" panose="020B0604020202020204" pitchFamily="34" charset="0"/>
              <a:cs typeface="Arial" panose="020B0604020202020204" pitchFamily="34" charset="0"/>
            </a:endParaRPr>
          </a:p>
        </p:txBody>
      </p:sp>
      <p:pic>
        <p:nvPicPr>
          <p:cNvPr id="4" name="Hình ảnh 5">
            <a:extLst>
              <a:ext uri="{FF2B5EF4-FFF2-40B4-BE49-F238E27FC236}">
                <a16:creationId xmlns:a16="http://schemas.microsoft.com/office/drawing/2014/main" id="{68BAE239-69F1-7A35-D370-D2BCA6AAB743}"/>
              </a:ext>
            </a:extLst>
          </p:cNvPr>
          <p:cNvPicPr>
            <a:picLocks noChangeAspect="1"/>
          </p:cNvPicPr>
          <p:nvPr/>
        </p:nvPicPr>
        <p:blipFill>
          <a:blip r:embed="rId3"/>
          <a:stretch>
            <a:fillRect/>
          </a:stretch>
        </p:blipFill>
        <p:spPr>
          <a:xfrm>
            <a:off x="6858407" y="766906"/>
            <a:ext cx="5333589" cy="4990416"/>
          </a:xfrm>
          <a:prstGeom prst="rect">
            <a:avLst/>
          </a:prstGeom>
        </p:spPr>
      </p:pic>
      <p:pic>
        <p:nvPicPr>
          <p:cNvPr id="6" name="Picture 5">
            <a:extLst>
              <a:ext uri="{FF2B5EF4-FFF2-40B4-BE49-F238E27FC236}">
                <a16:creationId xmlns:a16="http://schemas.microsoft.com/office/drawing/2014/main" id="{815268D8-1219-4904-81D1-2AA9C2B46D78}"/>
              </a:ext>
            </a:extLst>
          </p:cNvPr>
          <p:cNvPicPr>
            <a:picLocks noChangeAspect="1"/>
          </p:cNvPicPr>
          <p:nvPr/>
        </p:nvPicPr>
        <p:blipFill>
          <a:blip r:embed="rId4"/>
          <a:stretch>
            <a:fillRect/>
          </a:stretch>
        </p:blipFill>
        <p:spPr>
          <a:xfrm>
            <a:off x="453420" y="3523392"/>
            <a:ext cx="6130465" cy="2315815"/>
          </a:xfrm>
          <a:prstGeom prst="rect">
            <a:avLst/>
          </a:prstGeom>
        </p:spPr>
      </p:pic>
    </p:spTree>
    <p:extLst>
      <p:ext uri="{BB962C8B-B14F-4D97-AF65-F5344CB8AC3E}">
        <p14:creationId xmlns:p14="http://schemas.microsoft.com/office/powerpoint/2010/main" val="38982184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Hộp Văn bản 8">
            <a:extLst>
              <a:ext uri="{FF2B5EF4-FFF2-40B4-BE49-F238E27FC236}">
                <a16:creationId xmlns:a16="http://schemas.microsoft.com/office/drawing/2014/main" id="{66F9D08F-09A9-93E2-EC27-0E9A05331240}"/>
              </a:ext>
            </a:extLst>
          </p:cNvPr>
          <p:cNvSpPr txBox="1"/>
          <p:nvPr/>
        </p:nvSpPr>
        <p:spPr>
          <a:xfrm>
            <a:off x="1106933" y="1832228"/>
            <a:ext cx="10814133" cy="4196020"/>
          </a:xfrm>
          <a:prstGeom prst="rect">
            <a:avLst/>
          </a:prstGeom>
          <a:solidFill>
            <a:schemeClr val="bg1">
              <a:lumMod val="95000"/>
              <a:alpha val="50000"/>
            </a:schemeClr>
          </a:solidFill>
        </p:spPr>
        <p:txBody>
          <a:bodyPr wrap="square" rtlCol="0">
            <a:spAutoFit/>
          </a:bodyPr>
          <a:lstStyle/>
          <a:p>
            <a:pPr>
              <a:lnSpc>
                <a:spcPct val="150000"/>
              </a:lnSpc>
            </a:pPr>
            <a:r>
              <a:rPr lang="vi-VN" b="1">
                <a:latin typeface="Arial" panose="020B0604020202020204" pitchFamily="34" charset="0"/>
                <a:cs typeface="Arial" panose="020B0604020202020204" pitchFamily="34" charset="0"/>
              </a:rPr>
              <a:t>Đánh giá di căn:</a:t>
            </a:r>
          </a:p>
          <a:p>
            <a:pPr>
              <a:lnSpc>
                <a:spcPct val="150000"/>
              </a:lnSpc>
            </a:pPr>
            <a:r>
              <a:rPr lang="vi-VN">
                <a:latin typeface="Arial" panose="020B0604020202020204" pitchFamily="34" charset="0"/>
                <a:cs typeface="Arial" panose="020B0604020202020204" pitchFamily="34" charset="0"/>
              </a:rPr>
              <a:t>- Hạch di căn: đường kính trục ngắn ≥ 1 cm, hoại tử trung tâm, đậm độ cao hơn nhu mô gan</a:t>
            </a:r>
          </a:p>
          <a:p>
            <a:pPr>
              <a:lnSpc>
                <a:spcPct val="150000"/>
              </a:lnSpc>
            </a:pPr>
            <a:r>
              <a:rPr lang="vi-VN">
                <a:latin typeface="Arial" panose="020B0604020202020204" pitchFamily="34" charset="0"/>
                <a:cs typeface="Arial" panose="020B0604020202020204" pitchFamily="34" charset="0"/>
              </a:rPr>
              <a:t>- Di căn hạch vùng không phải chống chỉ định phẫu thuật</a:t>
            </a:r>
          </a:p>
          <a:p>
            <a:pPr>
              <a:lnSpc>
                <a:spcPct val="150000"/>
              </a:lnSpc>
            </a:pPr>
            <a:r>
              <a:rPr lang="vi-VN">
                <a:latin typeface="Arial" panose="020B0604020202020204" pitchFamily="34" charset="0"/>
                <a:cs typeface="Arial" panose="020B0604020202020204" pitchFamily="34" charset="0"/>
              </a:rPr>
              <a:t>- Di căn xa: gan, phúc mạc, phổi, hạch ngoài hạch vùng,...</a:t>
            </a:r>
          </a:p>
          <a:p>
            <a:pPr>
              <a:lnSpc>
                <a:spcPct val="150000"/>
              </a:lnSpc>
            </a:pPr>
            <a:r>
              <a:rPr lang="vi-VN">
                <a:latin typeface="Arial" panose="020B0604020202020204" pitchFamily="34" charset="0"/>
                <a:cs typeface="Arial" panose="020B0604020202020204" pitchFamily="34" charset="0"/>
              </a:rPr>
              <a:t>   </a:t>
            </a:r>
          </a:p>
          <a:p>
            <a:pPr>
              <a:lnSpc>
                <a:spcPct val="150000"/>
              </a:lnSpc>
            </a:pPr>
            <a:r>
              <a:rPr lang="vi-VN">
                <a:latin typeface="Arial" panose="020B0604020202020204" pitchFamily="34" charset="0"/>
                <a:cs typeface="Arial" panose="020B0604020202020204" pitchFamily="34" charset="0"/>
              </a:rPr>
              <a:t>CT ngực bụng chậu cản quang: </a:t>
            </a:r>
          </a:p>
          <a:p>
            <a:pPr marL="285750" indent="-285750">
              <a:lnSpc>
                <a:spcPct val="150000"/>
              </a:lnSpc>
              <a:buFontTx/>
              <a:buChar char="-"/>
            </a:pPr>
            <a:r>
              <a:rPr lang="vi-VN">
                <a:latin typeface="Arial" panose="020B0604020202020204" pitchFamily="34" charset="0"/>
                <a:cs typeface="Arial" panose="020B0604020202020204" pitchFamily="34" charset="0"/>
              </a:rPr>
              <a:t>Giúp đánh giá di căn hạch, gan, phúc mạc, phổi</a:t>
            </a:r>
          </a:p>
          <a:p>
            <a:pPr marL="285750" indent="-285750">
              <a:lnSpc>
                <a:spcPct val="150000"/>
              </a:lnSpc>
              <a:buFontTx/>
              <a:buChar char="-"/>
            </a:pPr>
            <a:r>
              <a:rPr lang="vi-VN">
                <a:latin typeface="Arial" panose="020B0604020202020204" pitchFamily="34" charset="0"/>
                <a:cs typeface="Arial" panose="020B0604020202020204" pitchFamily="34" charset="0"/>
              </a:rPr>
              <a:t>Độ nhạy 88% và đặc hiệu 89% trong di căn gan [1] </a:t>
            </a:r>
          </a:p>
          <a:p>
            <a:pPr marL="285750" indent="-285750">
              <a:lnSpc>
                <a:spcPct val="150000"/>
              </a:lnSpc>
              <a:buFontTx/>
              <a:buChar char="-"/>
            </a:pPr>
            <a:r>
              <a:rPr lang="vi-VN">
                <a:latin typeface="Arial" panose="020B0604020202020204" pitchFamily="34" charset="0"/>
                <a:cs typeface="Arial" panose="020B0604020202020204" pitchFamily="34" charset="0"/>
              </a:rPr>
              <a:t>Độ nhạy thấp trong phát hiện di căn phúc mạc, nốt di căn nhỏ ở gan [1] </a:t>
            </a:r>
          </a:p>
          <a:p>
            <a:pPr>
              <a:lnSpc>
                <a:spcPct val="150000"/>
              </a:lnSpc>
            </a:pPr>
            <a:r>
              <a:rPr lang="vi-VN">
                <a:latin typeface="Arial" panose="020B0604020202020204" pitchFamily="34" charset="0"/>
                <a:cs typeface="Arial" panose="020B0604020202020204" pitchFamily="34" charset="0"/>
              </a:rPr>
              <a:t>-  NCCN khuyến cáo thực hiện thường quy </a:t>
            </a:r>
          </a:p>
        </p:txBody>
      </p:sp>
      <p:sp>
        <p:nvSpPr>
          <p:cNvPr id="68" name="Freeform: Shape 67">
            <a:extLst>
              <a:ext uri="{FF2B5EF4-FFF2-40B4-BE49-F238E27FC236}">
                <a16:creationId xmlns:a16="http://schemas.microsoft.com/office/drawing/2014/main" id="{23F0C8A8-EBAB-4071-851C-3BBEB54BBBC4}"/>
              </a:ext>
            </a:extLst>
          </p:cNvPr>
          <p:cNvSpPr/>
          <p:nvPr/>
        </p:nvSpPr>
        <p:spPr>
          <a:xfrm>
            <a:off x="-1"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9065F0BC-0A5E-4161-BF7D-AC055EABC39D}"/>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sp>
        <p:nvSpPr>
          <p:cNvPr id="59" name="Freeform: Shape 58">
            <a:extLst>
              <a:ext uri="{FF2B5EF4-FFF2-40B4-BE49-F238E27FC236}">
                <a16:creationId xmlns:a16="http://schemas.microsoft.com/office/drawing/2014/main" id="{F00AE12C-A10C-41C1-8465-D0A4833058B8}"/>
              </a:ext>
            </a:extLst>
          </p:cNvPr>
          <p:cNvSpPr/>
          <p:nvPr/>
        </p:nvSpPr>
        <p:spPr>
          <a:xfrm>
            <a:off x="9141824" y="0"/>
            <a:ext cx="305017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84" name="Group 83">
            <a:extLst>
              <a:ext uri="{FF2B5EF4-FFF2-40B4-BE49-F238E27FC236}">
                <a16:creationId xmlns:a16="http://schemas.microsoft.com/office/drawing/2014/main" id="{77A9DF55-6FC7-4D28-AA78-0E0A565BACE8}"/>
              </a:ext>
            </a:extLst>
          </p:cNvPr>
          <p:cNvGrpSpPr/>
          <p:nvPr/>
        </p:nvGrpSpPr>
        <p:grpSpPr>
          <a:xfrm flipH="1">
            <a:off x="7105709" y="256273"/>
            <a:ext cx="1065469" cy="767411"/>
            <a:chOff x="9631490" y="336605"/>
            <a:chExt cx="1065469" cy="767411"/>
          </a:xfrm>
        </p:grpSpPr>
        <p:sp>
          <p:nvSpPr>
            <p:cNvPr id="82" name="Freeform: Shape 81">
              <a:extLst>
                <a:ext uri="{FF2B5EF4-FFF2-40B4-BE49-F238E27FC236}">
                  <a16:creationId xmlns:a16="http://schemas.microsoft.com/office/drawing/2014/main" id="{C6B58C95-642B-4A6B-9665-BF2F065EA4F4}"/>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3" name="Freeform: Shape 82">
              <a:extLst>
                <a:ext uri="{FF2B5EF4-FFF2-40B4-BE49-F238E27FC236}">
                  <a16:creationId xmlns:a16="http://schemas.microsoft.com/office/drawing/2014/main" id="{28849551-1E20-4DF5-A99D-68D4B87801C0}"/>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grpSp>
        <p:nvGrpSpPr>
          <p:cNvPr id="2" name="Group 7">
            <a:extLst>
              <a:ext uri="{FF2B5EF4-FFF2-40B4-BE49-F238E27FC236}">
                <a16:creationId xmlns:a16="http://schemas.microsoft.com/office/drawing/2014/main" id="{487C5B63-E044-14AB-8EBE-B3CD55AA2C49}"/>
              </a:ext>
            </a:extLst>
          </p:cNvPr>
          <p:cNvGrpSpPr/>
          <p:nvPr/>
        </p:nvGrpSpPr>
        <p:grpSpPr>
          <a:xfrm>
            <a:off x="533401" y="492718"/>
            <a:ext cx="8075021" cy="965827"/>
            <a:chOff x="533401" y="492718"/>
            <a:chExt cx="8075021" cy="965827"/>
          </a:xfrm>
        </p:grpSpPr>
        <p:sp>
          <p:nvSpPr>
            <p:cNvPr id="3" name="TextBox 12">
              <a:extLst>
                <a:ext uri="{FF2B5EF4-FFF2-40B4-BE49-F238E27FC236}">
                  <a16:creationId xmlns:a16="http://schemas.microsoft.com/office/drawing/2014/main" id="{37F181D4-A2E5-71CF-0D78-799B77CC97D8}"/>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ED8E3DAF-D0AD-0175-39A8-142F864C715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vi-VN"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2</a:t>
              </a: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 </a:t>
              </a:r>
              <a:r>
                <a:rPr kumimoji="0" lang="vi-VN"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Đánh giá xâm lấn, di căn</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sp>
        <p:nvSpPr>
          <p:cNvPr id="10" name="Hộp Văn bản 9">
            <a:extLst>
              <a:ext uri="{FF2B5EF4-FFF2-40B4-BE49-F238E27FC236}">
                <a16:creationId xmlns:a16="http://schemas.microsoft.com/office/drawing/2014/main" id="{4DDF4512-551C-EFBC-F481-E28F1713E94D}"/>
              </a:ext>
            </a:extLst>
          </p:cNvPr>
          <p:cNvSpPr txBox="1"/>
          <p:nvPr/>
        </p:nvSpPr>
        <p:spPr>
          <a:xfrm>
            <a:off x="533401" y="6611779"/>
            <a:ext cx="8053754" cy="246221"/>
          </a:xfrm>
          <a:prstGeom prst="rect">
            <a:avLst/>
          </a:prstGeom>
          <a:noFill/>
        </p:spPr>
        <p:txBody>
          <a:bodyPr wrap="square">
            <a:spAutoFit/>
          </a:bodyPr>
          <a:lstStyle/>
          <a:p>
            <a:r>
              <a:rPr lang="en-US" sz="1000"/>
              <a:t>[1] Carlos Castillo. Clinical manifestations, diagnosis, and staging of exocrine pancreatic cancer. Uptodate 2022.</a:t>
            </a:r>
          </a:p>
        </p:txBody>
      </p:sp>
      <p:grpSp>
        <p:nvGrpSpPr>
          <p:cNvPr id="11" name="Nhóm 10">
            <a:extLst>
              <a:ext uri="{FF2B5EF4-FFF2-40B4-BE49-F238E27FC236}">
                <a16:creationId xmlns:a16="http://schemas.microsoft.com/office/drawing/2014/main" id="{8AFE93CE-B4CE-E985-25C8-455A3B140165}"/>
              </a:ext>
            </a:extLst>
          </p:cNvPr>
          <p:cNvGrpSpPr/>
          <p:nvPr/>
        </p:nvGrpSpPr>
        <p:grpSpPr>
          <a:xfrm>
            <a:off x="696049" y="3794113"/>
            <a:ext cx="278677" cy="1930400"/>
            <a:chOff x="659541" y="2968978"/>
            <a:chExt cx="278677" cy="1930400"/>
          </a:xfrm>
        </p:grpSpPr>
        <p:cxnSp>
          <p:nvCxnSpPr>
            <p:cNvPr id="12" name="Đường nối Thẳng 11">
              <a:extLst>
                <a:ext uri="{FF2B5EF4-FFF2-40B4-BE49-F238E27FC236}">
                  <a16:creationId xmlns:a16="http://schemas.microsoft.com/office/drawing/2014/main" id="{58EE047A-B3ED-90FA-0575-DF7426F0484B}"/>
                </a:ext>
              </a:extLst>
            </p:cNvPr>
            <p:cNvCxnSpPr>
              <a:cxnSpLocks/>
            </p:cNvCxnSpPr>
            <p:nvPr/>
          </p:nvCxnSpPr>
          <p:spPr>
            <a:xfrm>
              <a:off x="798879" y="2968978"/>
              <a:ext cx="0" cy="1930400"/>
            </a:xfrm>
            <a:prstGeom prst="line">
              <a:avLst/>
            </a:prstGeom>
          </p:spPr>
          <p:style>
            <a:lnRef idx="1">
              <a:schemeClr val="accent2"/>
            </a:lnRef>
            <a:fillRef idx="0">
              <a:schemeClr val="accent2"/>
            </a:fillRef>
            <a:effectRef idx="0">
              <a:schemeClr val="accent2"/>
            </a:effectRef>
            <a:fontRef idx="minor">
              <a:schemeClr val="tx1"/>
            </a:fontRef>
          </p:style>
        </p:cxnSp>
        <p:sp>
          <p:nvSpPr>
            <p:cNvPr id="13" name="TextBox 116">
              <a:extLst>
                <a:ext uri="{FF2B5EF4-FFF2-40B4-BE49-F238E27FC236}">
                  <a16:creationId xmlns:a16="http://schemas.microsoft.com/office/drawing/2014/main" id="{9C9D14F1-D12E-0DC3-E763-C90D25449714}"/>
                </a:ext>
              </a:extLst>
            </p:cNvPr>
            <p:cNvSpPr txBox="1"/>
            <p:nvPr/>
          </p:nvSpPr>
          <p:spPr>
            <a:xfrm>
              <a:off x="659541" y="3152001"/>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grpSp>
      <p:sp>
        <p:nvSpPr>
          <p:cNvPr id="14" name="Freeform: Shape 67">
            <a:extLst>
              <a:ext uri="{FF2B5EF4-FFF2-40B4-BE49-F238E27FC236}">
                <a16:creationId xmlns:a16="http://schemas.microsoft.com/office/drawing/2014/main" id="{16AD01BB-1702-977F-C0CC-16D5EE8B5CC7}"/>
              </a:ext>
            </a:extLst>
          </p:cNvPr>
          <p:cNvSpPr/>
          <p:nvPr/>
        </p:nvSpPr>
        <p:spPr>
          <a:xfrm>
            <a:off x="0"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5" name="Freeform: Shape 58">
            <a:extLst>
              <a:ext uri="{FF2B5EF4-FFF2-40B4-BE49-F238E27FC236}">
                <a16:creationId xmlns:a16="http://schemas.microsoft.com/office/drawing/2014/main" id="{716852C1-F50A-E409-FE95-2A8F81CE9AE5}"/>
              </a:ext>
            </a:extLst>
          </p:cNvPr>
          <p:cNvSpPr/>
          <p:nvPr/>
        </p:nvSpPr>
        <p:spPr>
          <a:xfrm>
            <a:off x="9141825" y="0"/>
            <a:ext cx="305017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16" name="Group 83">
            <a:extLst>
              <a:ext uri="{FF2B5EF4-FFF2-40B4-BE49-F238E27FC236}">
                <a16:creationId xmlns:a16="http://schemas.microsoft.com/office/drawing/2014/main" id="{91E29B94-C747-4EE8-EC3E-2E714A1AD254}"/>
              </a:ext>
            </a:extLst>
          </p:cNvPr>
          <p:cNvGrpSpPr/>
          <p:nvPr/>
        </p:nvGrpSpPr>
        <p:grpSpPr>
          <a:xfrm flipH="1">
            <a:off x="7105710" y="256273"/>
            <a:ext cx="1065469" cy="767411"/>
            <a:chOff x="9631490" y="336605"/>
            <a:chExt cx="1065469" cy="767411"/>
          </a:xfrm>
        </p:grpSpPr>
        <p:sp>
          <p:nvSpPr>
            <p:cNvPr id="17" name="Freeform: Shape 81">
              <a:extLst>
                <a:ext uri="{FF2B5EF4-FFF2-40B4-BE49-F238E27FC236}">
                  <a16:creationId xmlns:a16="http://schemas.microsoft.com/office/drawing/2014/main" id="{70E8878E-2CFA-FD1E-1C0A-1B21D844C8D9}"/>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8" name="Freeform: Shape 82">
              <a:extLst>
                <a:ext uri="{FF2B5EF4-FFF2-40B4-BE49-F238E27FC236}">
                  <a16:creationId xmlns:a16="http://schemas.microsoft.com/office/drawing/2014/main" id="{EED4DB75-31C6-B7FB-CE8E-7148C7D9F003}"/>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20286865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Hộp Văn bản 8">
            <a:extLst>
              <a:ext uri="{FF2B5EF4-FFF2-40B4-BE49-F238E27FC236}">
                <a16:creationId xmlns:a16="http://schemas.microsoft.com/office/drawing/2014/main" id="{66F9D08F-09A9-93E2-EC27-0E9A05331240}"/>
              </a:ext>
            </a:extLst>
          </p:cNvPr>
          <p:cNvSpPr txBox="1"/>
          <p:nvPr/>
        </p:nvSpPr>
        <p:spPr>
          <a:xfrm>
            <a:off x="1198556" y="2046171"/>
            <a:ext cx="10590094" cy="3416320"/>
          </a:xfrm>
          <a:prstGeom prst="rect">
            <a:avLst/>
          </a:prstGeom>
          <a:solidFill>
            <a:schemeClr val="bg1">
              <a:lumMod val="95000"/>
              <a:alpha val="50000"/>
            </a:schemeClr>
          </a:solidFill>
        </p:spPr>
        <p:txBody>
          <a:bodyPr wrap="square" rtlCol="0">
            <a:spAutoFit/>
          </a:bodyPr>
          <a:lstStyle/>
          <a:p>
            <a:r>
              <a:rPr lang="en-US">
                <a:latin typeface="Arial" panose="020B0604020202020204" pitchFamily="34" charset="0"/>
                <a:cs typeface="Arial" panose="020B0604020202020204" pitchFamily="34" charset="0"/>
              </a:rPr>
              <a:t>Các cận lâm sàng khác: </a:t>
            </a:r>
          </a:p>
          <a:p>
            <a:r>
              <a:rPr lang="en-US">
                <a:latin typeface="Arial" panose="020B0604020202020204" pitchFamily="34" charset="0"/>
                <a:cs typeface="Arial" panose="020B0604020202020204" pitchFamily="34" charset="0"/>
              </a:rPr>
              <a:t>MRI: đánh giá tổn thương gan chưa thể phân định rõ ràng trên CT</a:t>
            </a:r>
          </a:p>
          <a:p>
            <a:r>
              <a:rPr lang="en-US">
                <a:latin typeface="Arial" panose="020B0604020202020204" pitchFamily="34" charset="0"/>
                <a:cs typeface="Arial" panose="020B0604020202020204" pitchFamily="34" charset="0"/>
              </a:rPr>
              <a:t>EUS: </a:t>
            </a:r>
          </a:p>
          <a:p>
            <a:pPr marL="285750" indent="-285750">
              <a:buFontTx/>
              <a:buChar char="-"/>
            </a:pPr>
            <a:r>
              <a:rPr lang="en-US">
                <a:latin typeface="Arial" panose="020B0604020202020204" pitchFamily="34" charset="0"/>
                <a:cs typeface="Arial" panose="020B0604020202020204" pitchFamily="34" charset="0"/>
              </a:rPr>
              <a:t>Đánh giá di căn hạch vùng tốt hơn CT [1]</a:t>
            </a:r>
          </a:p>
          <a:p>
            <a:pPr marL="285750" indent="-285750">
              <a:buFontTx/>
              <a:buChar char="-"/>
            </a:pPr>
            <a:r>
              <a:rPr lang="en-US">
                <a:latin typeface="Arial" panose="020B0604020202020204" pitchFamily="34" charset="0"/>
                <a:cs typeface="Arial" panose="020B0604020202020204" pitchFamily="34" charset="0"/>
              </a:rPr>
              <a:t>Có thể phát hiện di căn gan, di căn hạch trung thất </a:t>
            </a:r>
          </a:p>
          <a:p>
            <a:r>
              <a:rPr lang="en-US">
                <a:latin typeface="Arial" panose="020B0604020202020204" pitchFamily="34" charset="0"/>
                <a:cs typeface="Arial" panose="020B0604020202020204" pitchFamily="34" charset="0"/>
              </a:rPr>
              <a:t>PET – CT: </a:t>
            </a:r>
          </a:p>
          <a:p>
            <a:pPr marL="285750" indent="-285750">
              <a:buFontTx/>
              <a:buChar char="-"/>
            </a:pPr>
            <a:r>
              <a:rPr lang="en-US">
                <a:latin typeface="Arial" panose="020B0604020202020204" pitchFamily="34" charset="0"/>
                <a:cs typeface="Arial" panose="020B0604020202020204" pitchFamily="34" charset="0"/>
              </a:rPr>
              <a:t>Độ nhạy 87-95%, độ đặc hiệu 51-81% [1]</a:t>
            </a:r>
          </a:p>
          <a:p>
            <a:pPr marL="285750" indent="-285750">
              <a:buFontTx/>
              <a:buChar char="-"/>
            </a:pPr>
            <a:r>
              <a:rPr lang="en-US">
                <a:latin typeface="Arial" panose="020B0604020202020204" pitchFamily="34" charset="0"/>
                <a:cs typeface="Arial" panose="020B0604020202020204" pitchFamily="34" charset="0"/>
              </a:rPr>
              <a:t>Nhược điểm: chi phí, tính sẵn có</a:t>
            </a:r>
          </a:p>
          <a:p>
            <a:pPr marL="285750" indent="-285750">
              <a:buFontTx/>
              <a:buChar char="-"/>
            </a:pPr>
            <a:r>
              <a:rPr lang="en-US">
                <a:latin typeface="Arial" panose="020B0604020202020204" pitchFamily="34" charset="0"/>
                <a:cs typeface="Arial" panose="020B0604020202020204" pitchFamily="34" charset="0"/>
              </a:rPr>
              <a:t>NCCN khuyến cáo chỉ dùng khi có nguy cơ cao:</a:t>
            </a:r>
          </a:p>
          <a:p>
            <a:r>
              <a:rPr lang="en-US">
                <a:latin typeface="Arial" panose="020B0604020202020204" pitchFamily="34" charset="0"/>
                <a:cs typeface="Arial" panose="020B0604020202020204" pitchFamily="34" charset="0"/>
              </a:rPr>
              <a:t>	+ U giáp biên </a:t>
            </a:r>
          </a:p>
          <a:p>
            <a:r>
              <a:rPr lang="en-US">
                <a:latin typeface="Arial" panose="020B0604020202020204" pitchFamily="34" charset="0"/>
                <a:cs typeface="Arial" panose="020B0604020202020204" pitchFamily="34" charset="0"/>
              </a:rPr>
              <a:t>	+ CA 19-9 trước mổ tăng cao đáng kể</a:t>
            </a:r>
          </a:p>
          <a:p>
            <a:r>
              <a:rPr lang="en-US">
                <a:latin typeface="Arial" panose="020B0604020202020204" pitchFamily="34" charset="0"/>
                <a:cs typeface="Arial" panose="020B0604020202020204" pitchFamily="34" charset="0"/>
              </a:rPr>
              <a:t>	+ Kích thước u nguyên phát lớn</a:t>
            </a:r>
          </a:p>
        </p:txBody>
      </p:sp>
      <p:sp>
        <p:nvSpPr>
          <p:cNvPr id="68" name="Freeform: Shape 67">
            <a:extLst>
              <a:ext uri="{FF2B5EF4-FFF2-40B4-BE49-F238E27FC236}">
                <a16:creationId xmlns:a16="http://schemas.microsoft.com/office/drawing/2014/main" id="{23F0C8A8-EBAB-4071-851C-3BBEB54BBBC4}"/>
              </a:ext>
            </a:extLst>
          </p:cNvPr>
          <p:cNvSpPr/>
          <p:nvPr/>
        </p:nvSpPr>
        <p:spPr>
          <a:xfrm>
            <a:off x="-1"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9065F0BC-0A5E-4161-BF7D-AC055EABC39D}"/>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sp>
        <p:nvSpPr>
          <p:cNvPr id="59" name="Freeform: Shape 58">
            <a:extLst>
              <a:ext uri="{FF2B5EF4-FFF2-40B4-BE49-F238E27FC236}">
                <a16:creationId xmlns:a16="http://schemas.microsoft.com/office/drawing/2014/main" id="{F00AE12C-A10C-41C1-8465-D0A4833058B8}"/>
              </a:ext>
            </a:extLst>
          </p:cNvPr>
          <p:cNvSpPr/>
          <p:nvPr/>
        </p:nvSpPr>
        <p:spPr>
          <a:xfrm>
            <a:off x="6099994" y="0"/>
            <a:ext cx="609200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84" name="Group 83">
            <a:extLst>
              <a:ext uri="{FF2B5EF4-FFF2-40B4-BE49-F238E27FC236}">
                <a16:creationId xmlns:a16="http://schemas.microsoft.com/office/drawing/2014/main" id="{77A9DF55-6FC7-4D28-AA78-0E0A565BACE8}"/>
              </a:ext>
            </a:extLst>
          </p:cNvPr>
          <p:cNvGrpSpPr/>
          <p:nvPr/>
        </p:nvGrpSpPr>
        <p:grpSpPr>
          <a:xfrm flipH="1">
            <a:off x="7105709" y="256273"/>
            <a:ext cx="1065469" cy="767411"/>
            <a:chOff x="9631490" y="336605"/>
            <a:chExt cx="1065469" cy="767411"/>
          </a:xfrm>
        </p:grpSpPr>
        <p:sp>
          <p:nvSpPr>
            <p:cNvPr id="82" name="Freeform: Shape 81">
              <a:extLst>
                <a:ext uri="{FF2B5EF4-FFF2-40B4-BE49-F238E27FC236}">
                  <a16:creationId xmlns:a16="http://schemas.microsoft.com/office/drawing/2014/main" id="{C6B58C95-642B-4A6B-9665-BF2F065EA4F4}"/>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3" name="Freeform: Shape 82">
              <a:extLst>
                <a:ext uri="{FF2B5EF4-FFF2-40B4-BE49-F238E27FC236}">
                  <a16:creationId xmlns:a16="http://schemas.microsoft.com/office/drawing/2014/main" id="{28849551-1E20-4DF5-A99D-68D4B87801C0}"/>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grpSp>
        <p:nvGrpSpPr>
          <p:cNvPr id="2" name="Group 7">
            <a:extLst>
              <a:ext uri="{FF2B5EF4-FFF2-40B4-BE49-F238E27FC236}">
                <a16:creationId xmlns:a16="http://schemas.microsoft.com/office/drawing/2014/main" id="{487C5B63-E044-14AB-8EBE-B3CD55AA2C49}"/>
              </a:ext>
            </a:extLst>
          </p:cNvPr>
          <p:cNvGrpSpPr/>
          <p:nvPr/>
        </p:nvGrpSpPr>
        <p:grpSpPr>
          <a:xfrm>
            <a:off x="533401" y="492718"/>
            <a:ext cx="8075021" cy="965827"/>
            <a:chOff x="533401" y="492718"/>
            <a:chExt cx="8075021" cy="965827"/>
          </a:xfrm>
        </p:grpSpPr>
        <p:sp>
          <p:nvSpPr>
            <p:cNvPr id="3" name="TextBox 12">
              <a:extLst>
                <a:ext uri="{FF2B5EF4-FFF2-40B4-BE49-F238E27FC236}">
                  <a16:creationId xmlns:a16="http://schemas.microsoft.com/office/drawing/2014/main" id="{37F181D4-A2E5-71CF-0D78-799B77CC97D8}"/>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ED8E3DAF-D0AD-0175-39A8-142F864C715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vi-VN"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2</a:t>
              </a: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 </a:t>
              </a:r>
              <a:r>
                <a:rPr kumimoji="0" lang="vi-VN"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Đánh giá xâm lấn, di căn</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sp>
        <p:nvSpPr>
          <p:cNvPr id="10" name="Hộp Văn bản 9">
            <a:extLst>
              <a:ext uri="{FF2B5EF4-FFF2-40B4-BE49-F238E27FC236}">
                <a16:creationId xmlns:a16="http://schemas.microsoft.com/office/drawing/2014/main" id="{4DDF4512-551C-EFBC-F481-E28F1713E94D}"/>
              </a:ext>
            </a:extLst>
          </p:cNvPr>
          <p:cNvSpPr txBox="1"/>
          <p:nvPr/>
        </p:nvSpPr>
        <p:spPr>
          <a:xfrm>
            <a:off x="554668" y="6373902"/>
            <a:ext cx="8053754" cy="246221"/>
          </a:xfrm>
          <a:prstGeom prst="rect">
            <a:avLst/>
          </a:prstGeom>
          <a:noFill/>
        </p:spPr>
        <p:txBody>
          <a:bodyPr wrap="square">
            <a:spAutoFit/>
          </a:bodyPr>
          <a:lstStyle/>
          <a:p>
            <a:r>
              <a:rPr lang="vi-VN" sz="1000"/>
              <a:t>[1] Phan Minh Trí. Ung thư quanh bóng vater. Bệnh học Ngoại khao Tiêu hóa. 2021</a:t>
            </a:r>
          </a:p>
        </p:txBody>
      </p:sp>
      <p:grpSp>
        <p:nvGrpSpPr>
          <p:cNvPr id="14" name="Nhóm 13">
            <a:extLst>
              <a:ext uri="{FF2B5EF4-FFF2-40B4-BE49-F238E27FC236}">
                <a16:creationId xmlns:a16="http://schemas.microsoft.com/office/drawing/2014/main" id="{72F0EB3B-4626-D4AC-EA15-8FA857EAD71D}"/>
              </a:ext>
            </a:extLst>
          </p:cNvPr>
          <p:cNvGrpSpPr/>
          <p:nvPr/>
        </p:nvGrpSpPr>
        <p:grpSpPr>
          <a:xfrm>
            <a:off x="808938" y="2156627"/>
            <a:ext cx="278677" cy="3305864"/>
            <a:chOff x="696049" y="2463800"/>
            <a:chExt cx="278677" cy="3305864"/>
          </a:xfrm>
        </p:grpSpPr>
        <p:grpSp>
          <p:nvGrpSpPr>
            <p:cNvPr id="11" name="Nhóm 10">
              <a:extLst>
                <a:ext uri="{FF2B5EF4-FFF2-40B4-BE49-F238E27FC236}">
                  <a16:creationId xmlns:a16="http://schemas.microsoft.com/office/drawing/2014/main" id="{8AFE93CE-B4CE-E985-25C8-455A3B140165}"/>
                </a:ext>
              </a:extLst>
            </p:cNvPr>
            <p:cNvGrpSpPr/>
            <p:nvPr/>
          </p:nvGrpSpPr>
          <p:grpSpPr>
            <a:xfrm>
              <a:off x="696049" y="2463800"/>
              <a:ext cx="278677" cy="3305864"/>
              <a:chOff x="659541" y="2968978"/>
              <a:chExt cx="278677" cy="3305864"/>
            </a:xfrm>
          </p:grpSpPr>
          <p:cxnSp>
            <p:nvCxnSpPr>
              <p:cNvPr id="12" name="Đường nối Thẳng 11">
                <a:extLst>
                  <a:ext uri="{FF2B5EF4-FFF2-40B4-BE49-F238E27FC236}">
                    <a16:creationId xmlns:a16="http://schemas.microsoft.com/office/drawing/2014/main" id="{58EE047A-B3ED-90FA-0575-DF7426F0484B}"/>
                  </a:ext>
                </a:extLst>
              </p:cNvPr>
              <p:cNvCxnSpPr>
                <a:cxnSpLocks/>
              </p:cNvCxnSpPr>
              <p:nvPr/>
            </p:nvCxnSpPr>
            <p:spPr>
              <a:xfrm>
                <a:off x="798879" y="2968978"/>
                <a:ext cx="0" cy="3305864"/>
              </a:xfrm>
              <a:prstGeom prst="line">
                <a:avLst/>
              </a:prstGeom>
            </p:spPr>
            <p:style>
              <a:lnRef idx="1">
                <a:schemeClr val="accent2"/>
              </a:lnRef>
              <a:fillRef idx="0">
                <a:schemeClr val="accent2"/>
              </a:fillRef>
              <a:effectRef idx="0">
                <a:schemeClr val="accent2"/>
              </a:effectRef>
              <a:fontRef idx="minor">
                <a:schemeClr val="tx1"/>
              </a:fontRef>
            </p:style>
          </p:cxnSp>
          <p:sp>
            <p:nvSpPr>
              <p:cNvPr id="13" name="TextBox 116">
                <a:extLst>
                  <a:ext uri="{FF2B5EF4-FFF2-40B4-BE49-F238E27FC236}">
                    <a16:creationId xmlns:a16="http://schemas.microsoft.com/office/drawing/2014/main" id="{9C9D14F1-D12E-0DC3-E763-C90D25449714}"/>
                  </a:ext>
                </a:extLst>
              </p:cNvPr>
              <p:cNvSpPr txBox="1"/>
              <p:nvPr/>
            </p:nvSpPr>
            <p:spPr>
              <a:xfrm>
                <a:off x="659541" y="3152001"/>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grpSp>
        <p:sp>
          <p:nvSpPr>
            <p:cNvPr id="5" name="TextBox 116">
              <a:extLst>
                <a:ext uri="{FF2B5EF4-FFF2-40B4-BE49-F238E27FC236}">
                  <a16:creationId xmlns:a16="http://schemas.microsoft.com/office/drawing/2014/main" id="{CAB70C6B-8FCC-0BFF-2EEF-16D512D13E30}"/>
                </a:ext>
              </a:extLst>
            </p:cNvPr>
            <p:cNvSpPr txBox="1"/>
            <p:nvPr/>
          </p:nvSpPr>
          <p:spPr>
            <a:xfrm>
              <a:off x="696049" y="3020600"/>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6" name="TextBox 116">
              <a:extLst>
                <a:ext uri="{FF2B5EF4-FFF2-40B4-BE49-F238E27FC236}">
                  <a16:creationId xmlns:a16="http://schemas.microsoft.com/office/drawing/2014/main" id="{511996D7-FBA2-001D-55D6-91666A694E78}"/>
                </a:ext>
              </a:extLst>
            </p:cNvPr>
            <p:cNvSpPr txBox="1"/>
            <p:nvPr/>
          </p:nvSpPr>
          <p:spPr>
            <a:xfrm>
              <a:off x="696049" y="3718184"/>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4365268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25">
            <a:extLst>
              <a:ext uri="{FF2B5EF4-FFF2-40B4-BE49-F238E27FC236}">
                <a16:creationId xmlns:a16="http://schemas.microsoft.com/office/drawing/2014/main" id="{43C3A443-EEDA-0CFB-E9E2-617178B0EB3B}"/>
              </a:ext>
            </a:extLst>
          </p:cNvPr>
          <p:cNvSpPr txBox="1"/>
          <p:nvPr/>
        </p:nvSpPr>
        <p:spPr>
          <a:xfrm>
            <a:off x="2703443" y="1843253"/>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9" name="Graphic 113">
            <a:extLst>
              <a:ext uri="{FF2B5EF4-FFF2-40B4-BE49-F238E27FC236}">
                <a16:creationId xmlns:a16="http://schemas.microsoft.com/office/drawing/2014/main" id="{675373D6-DC12-F605-3061-F0149EA12098}"/>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 name="TextBox 102">
            <a:extLst>
              <a:ext uri="{FF2B5EF4-FFF2-40B4-BE49-F238E27FC236}">
                <a16:creationId xmlns:a16="http://schemas.microsoft.com/office/drawing/2014/main" id="{3A2FA7D8-69C6-B04D-664B-427A7ADECB82}"/>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pic>
        <p:nvPicPr>
          <p:cNvPr id="3" name="Hình ảnh 2">
            <a:extLst>
              <a:ext uri="{FF2B5EF4-FFF2-40B4-BE49-F238E27FC236}">
                <a16:creationId xmlns:a16="http://schemas.microsoft.com/office/drawing/2014/main" id="{645EF4AD-A8EB-E1EF-E87A-FC2CA8A1630D}"/>
              </a:ext>
            </a:extLst>
          </p:cNvPr>
          <p:cNvPicPr>
            <a:picLocks noChangeAspect="1"/>
          </p:cNvPicPr>
          <p:nvPr/>
        </p:nvPicPr>
        <p:blipFill>
          <a:blip r:embed="rId3"/>
          <a:stretch>
            <a:fillRect/>
          </a:stretch>
        </p:blipFill>
        <p:spPr>
          <a:xfrm>
            <a:off x="1138742" y="1351934"/>
            <a:ext cx="10327787" cy="3816272"/>
          </a:xfrm>
          <a:prstGeom prst="rect">
            <a:avLst/>
          </a:prstGeom>
        </p:spPr>
      </p:pic>
    </p:spTree>
    <p:extLst>
      <p:ext uri="{BB962C8B-B14F-4D97-AF65-F5344CB8AC3E}">
        <p14:creationId xmlns:p14="http://schemas.microsoft.com/office/powerpoint/2010/main" val="39358865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ộp Văn bản 4">
            <a:extLst>
              <a:ext uri="{FF2B5EF4-FFF2-40B4-BE49-F238E27FC236}">
                <a16:creationId xmlns:a16="http://schemas.microsoft.com/office/drawing/2014/main" id="{7BE305E6-8544-7F91-E9C3-A651B73524F5}"/>
              </a:ext>
            </a:extLst>
          </p:cNvPr>
          <p:cNvSpPr txBox="1"/>
          <p:nvPr/>
        </p:nvSpPr>
        <p:spPr>
          <a:xfrm>
            <a:off x="2126519" y="1526644"/>
            <a:ext cx="7412361" cy="4190314"/>
          </a:xfrm>
          <a:prstGeom prst="rect">
            <a:avLst/>
          </a:prstGeom>
          <a:solidFill>
            <a:schemeClr val="bg1">
              <a:lumMod val="95000"/>
              <a:alpha val="50000"/>
            </a:schemeClr>
          </a:solidFill>
        </p:spPr>
        <p:txBody>
          <a:bodyPr wrap="square" rtlCol="0">
            <a:spAutoFit/>
          </a:bodyPr>
          <a:lstStyle/>
          <a:p>
            <a:pPr>
              <a:lnSpc>
                <a:spcPct val="150000"/>
              </a:lnSpc>
            </a:pPr>
            <a:r>
              <a:rPr lang="en-US" sz="2000" err="1">
                <a:latin typeface="Arial (Body)"/>
              </a:rPr>
              <a:t>Các</a:t>
            </a:r>
            <a:r>
              <a:rPr lang="en-US" sz="2000">
                <a:latin typeface="Arial (Body)"/>
              </a:rPr>
              <a:t> </a:t>
            </a:r>
            <a:r>
              <a:rPr lang="en-US" sz="2000" err="1">
                <a:latin typeface="Arial (Body)"/>
              </a:rPr>
              <a:t>phương</a:t>
            </a:r>
            <a:r>
              <a:rPr lang="en-US" sz="2000">
                <a:latin typeface="Arial (Body)"/>
              </a:rPr>
              <a:t> </a:t>
            </a:r>
            <a:r>
              <a:rPr lang="en-US" sz="2000" err="1">
                <a:latin typeface="Arial (Body)"/>
              </a:rPr>
              <a:t>tiện</a:t>
            </a:r>
            <a:r>
              <a:rPr lang="en-US" sz="2000">
                <a:latin typeface="Arial (Body)"/>
              </a:rPr>
              <a:t>: </a:t>
            </a:r>
          </a:p>
          <a:p>
            <a:pPr marL="285750" indent="-285750">
              <a:lnSpc>
                <a:spcPct val="150000"/>
              </a:lnSpc>
              <a:buFontTx/>
              <a:buChar char="-"/>
            </a:pPr>
            <a:r>
              <a:rPr lang="en-US" sz="2000">
                <a:latin typeface="Arial (Body)"/>
              </a:rPr>
              <a:t>U </a:t>
            </a:r>
            <a:r>
              <a:rPr lang="en-US" sz="2000" err="1">
                <a:latin typeface="Arial (Body)"/>
              </a:rPr>
              <a:t>tụy</a:t>
            </a:r>
            <a:r>
              <a:rPr lang="en-US" sz="2000">
                <a:latin typeface="Arial (Body)"/>
              </a:rPr>
              <a:t>: EUS, ERCP, sinh </a:t>
            </a:r>
            <a:r>
              <a:rPr lang="en-US" sz="2000" err="1">
                <a:latin typeface="Arial (Body)"/>
              </a:rPr>
              <a:t>thiết</a:t>
            </a:r>
            <a:r>
              <a:rPr lang="en-US" sz="2000">
                <a:latin typeface="Arial (Body)"/>
              </a:rPr>
              <a:t> qua da, </a:t>
            </a:r>
          </a:p>
          <a:p>
            <a:pPr>
              <a:lnSpc>
                <a:spcPct val="150000"/>
              </a:lnSpc>
            </a:pPr>
            <a:r>
              <a:rPr lang="en-US" sz="2000">
                <a:latin typeface="Arial (Body)"/>
              </a:rPr>
              <a:t>+ EUS: nhạy 92% </a:t>
            </a:r>
            <a:r>
              <a:rPr lang="en-US" sz="2000" err="1">
                <a:latin typeface="Arial (Body)"/>
              </a:rPr>
              <a:t>ung</a:t>
            </a:r>
            <a:r>
              <a:rPr lang="en-US" sz="2000">
                <a:latin typeface="Arial (Body)"/>
              </a:rPr>
              <a:t> </a:t>
            </a:r>
            <a:r>
              <a:rPr lang="en-US" sz="2000" err="1">
                <a:latin typeface="Arial (Body)"/>
              </a:rPr>
              <a:t>thư</a:t>
            </a:r>
            <a:r>
              <a:rPr lang="en-US" sz="2000">
                <a:latin typeface="Arial (Body)"/>
              </a:rPr>
              <a:t> tụy [1]</a:t>
            </a:r>
          </a:p>
          <a:p>
            <a:pPr>
              <a:lnSpc>
                <a:spcPct val="150000"/>
              </a:lnSpc>
            </a:pPr>
            <a:r>
              <a:rPr lang="en-US" sz="2000">
                <a:latin typeface="Arial (Body)"/>
              </a:rPr>
              <a:t>+ ERCP: nhạy 50-60% [1] </a:t>
            </a:r>
          </a:p>
          <a:p>
            <a:pPr>
              <a:lnSpc>
                <a:spcPct val="150000"/>
              </a:lnSpc>
            </a:pPr>
            <a:r>
              <a:rPr lang="en-US" sz="2000">
                <a:latin typeface="Arial (Body)"/>
              </a:rPr>
              <a:t>+ Sinh thiết qua da: dưới hướng dẫn SA hoặc CT, ít thực hiện.</a:t>
            </a:r>
          </a:p>
          <a:p>
            <a:pPr>
              <a:lnSpc>
                <a:spcPct val="150000"/>
              </a:lnSpc>
            </a:pPr>
            <a:r>
              <a:rPr lang="en-US" sz="2000">
                <a:latin typeface="Arial (Body)"/>
              </a:rPr>
              <a:t>- U </a:t>
            </a:r>
            <a:r>
              <a:rPr lang="en-US" sz="2000" err="1">
                <a:latin typeface="Arial (Body)"/>
              </a:rPr>
              <a:t>tá</a:t>
            </a:r>
            <a:r>
              <a:rPr lang="en-US" sz="2000">
                <a:latin typeface="Arial (Body)"/>
              </a:rPr>
              <a:t> </a:t>
            </a:r>
            <a:r>
              <a:rPr lang="en-US" sz="2000" err="1">
                <a:latin typeface="Arial (Body)"/>
              </a:rPr>
              <a:t>tràng</a:t>
            </a:r>
            <a:r>
              <a:rPr lang="en-US" sz="2000">
                <a:latin typeface="Arial (Body)"/>
              </a:rPr>
              <a:t>, u </a:t>
            </a:r>
            <a:r>
              <a:rPr lang="en-US" sz="2000" err="1">
                <a:latin typeface="Arial (Body)"/>
              </a:rPr>
              <a:t>bóng</a:t>
            </a:r>
            <a:r>
              <a:rPr lang="en-US" sz="2000">
                <a:latin typeface="Arial (Body)"/>
              </a:rPr>
              <a:t> </a:t>
            </a:r>
            <a:r>
              <a:rPr lang="en-US" sz="2000" err="1">
                <a:latin typeface="Arial (Body)"/>
              </a:rPr>
              <a:t>vater</a:t>
            </a:r>
            <a:r>
              <a:rPr lang="en-US" sz="2000">
                <a:latin typeface="Arial (Body)"/>
              </a:rPr>
              <a:t>: </a:t>
            </a:r>
            <a:r>
              <a:rPr lang="en-US" sz="2000" err="1">
                <a:latin typeface="Arial (Body)"/>
              </a:rPr>
              <a:t>Nội</a:t>
            </a:r>
            <a:r>
              <a:rPr lang="en-US" sz="2000">
                <a:latin typeface="Arial (Body)"/>
              </a:rPr>
              <a:t> soi </a:t>
            </a:r>
            <a:r>
              <a:rPr lang="en-US" sz="2000" err="1">
                <a:latin typeface="Arial (Body)"/>
              </a:rPr>
              <a:t>thực</a:t>
            </a:r>
            <a:r>
              <a:rPr lang="en-US" sz="2000">
                <a:latin typeface="Arial (Body)"/>
              </a:rPr>
              <a:t> </a:t>
            </a:r>
            <a:r>
              <a:rPr lang="en-US" sz="2000" err="1">
                <a:latin typeface="Arial (Body)"/>
              </a:rPr>
              <a:t>quản</a:t>
            </a:r>
            <a:r>
              <a:rPr lang="en-US" sz="2000">
                <a:latin typeface="Arial (Body)"/>
              </a:rPr>
              <a:t> </a:t>
            </a:r>
            <a:r>
              <a:rPr lang="en-US" sz="2000" err="1">
                <a:latin typeface="Arial (Body)"/>
              </a:rPr>
              <a:t>dạ</a:t>
            </a:r>
            <a:r>
              <a:rPr lang="en-US" sz="2000">
                <a:latin typeface="Arial (Body)"/>
              </a:rPr>
              <a:t> </a:t>
            </a:r>
            <a:r>
              <a:rPr lang="en-US" sz="2000" err="1">
                <a:latin typeface="Arial (Body)"/>
              </a:rPr>
              <a:t>dày</a:t>
            </a:r>
            <a:r>
              <a:rPr lang="en-US" sz="2000">
                <a:latin typeface="Arial (Body)"/>
              </a:rPr>
              <a:t> </a:t>
            </a:r>
            <a:r>
              <a:rPr lang="en-US" sz="2000" err="1">
                <a:latin typeface="Arial (Body)"/>
              </a:rPr>
              <a:t>tá</a:t>
            </a:r>
            <a:r>
              <a:rPr lang="en-US" sz="2000">
                <a:latin typeface="Arial (Body)"/>
              </a:rPr>
              <a:t> </a:t>
            </a:r>
            <a:r>
              <a:rPr lang="en-US" sz="2000" err="1">
                <a:latin typeface="Arial (Body)"/>
              </a:rPr>
              <a:t>tràng</a:t>
            </a:r>
            <a:r>
              <a:rPr lang="en-US" sz="2000">
                <a:latin typeface="Arial (Body)"/>
              </a:rPr>
              <a:t> </a:t>
            </a:r>
            <a:r>
              <a:rPr lang="en-US" sz="2000" err="1">
                <a:latin typeface="Arial (Body)"/>
              </a:rPr>
              <a:t>sinh</a:t>
            </a:r>
            <a:r>
              <a:rPr lang="en-US" sz="2000">
                <a:latin typeface="Arial (Body)"/>
              </a:rPr>
              <a:t> </a:t>
            </a:r>
            <a:r>
              <a:rPr lang="en-US" sz="2000" err="1">
                <a:latin typeface="Arial (Body)"/>
              </a:rPr>
              <a:t>thiết</a:t>
            </a:r>
            <a:r>
              <a:rPr lang="en-US" sz="2000">
                <a:latin typeface="Arial (Body)"/>
              </a:rPr>
              <a:t> </a:t>
            </a:r>
          </a:p>
          <a:p>
            <a:pPr>
              <a:lnSpc>
                <a:spcPct val="150000"/>
              </a:lnSpc>
            </a:pPr>
            <a:r>
              <a:rPr lang="en-US" sz="2000">
                <a:latin typeface="Arial (Body)"/>
              </a:rPr>
              <a:t>- U </a:t>
            </a:r>
            <a:r>
              <a:rPr lang="en-US" sz="2000" err="1">
                <a:latin typeface="Arial (Body)"/>
              </a:rPr>
              <a:t>đoạn</a:t>
            </a:r>
            <a:r>
              <a:rPr lang="en-US" sz="2000">
                <a:latin typeface="Arial (Body)"/>
              </a:rPr>
              <a:t> </a:t>
            </a:r>
            <a:r>
              <a:rPr lang="en-US" sz="2000" err="1">
                <a:latin typeface="Arial (Body)"/>
              </a:rPr>
              <a:t>cuối</a:t>
            </a:r>
            <a:r>
              <a:rPr lang="en-US" sz="2000">
                <a:latin typeface="Arial (Body)"/>
              </a:rPr>
              <a:t> OMC: EUS, ERCP, PTC </a:t>
            </a:r>
          </a:p>
          <a:p>
            <a:pPr>
              <a:lnSpc>
                <a:spcPct val="150000"/>
              </a:lnSpc>
            </a:pPr>
            <a:r>
              <a:rPr lang="en-US" sz="2000">
                <a:latin typeface="Arial (Body)"/>
              </a:rPr>
              <a:t>- </a:t>
            </a:r>
            <a:r>
              <a:rPr lang="en-US" sz="2000" err="1">
                <a:latin typeface="Arial (Body)"/>
              </a:rPr>
              <a:t>Sinh</a:t>
            </a:r>
            <a:r>
              <a:rPr lang="en-US" sz="2000">
                <a:latin typeface="Arial (Body)"/>
              </a:rPr>
              <a:t> </a:t>
            </a:r>
            <a:r>
              <a:rPr lang="en-US" sz="2000" err="1">
                <a:latin typeface="Arial (Body)"/>
              </a:rPr>
              <a:t>thiết</a:t>
            </a:r>
            <a:r>
              <a:rPr lang="en-US" sz="2000">
                <a:latin typeface="Arial (Body)"/>
              </a:rPr>
              <a:t> </a:t>
            </a:r>
            <a:r>
              <a:rPr lang="en-US" sz="2000" err="1">
                <a:latin typeface="Arial (Body)"/>
              </a:rPr>
              <a:t>vị</a:t>
            </a:r>
            <a:r>
              <a:rPr lang="en-US" sz="2000">
                <a:latin typeface="Arial (Body)"/>
              </a:rPr>
              <a:t> </a:t>
            </a:r>
            <a:r>
              <a:rPr lang="en-US" sz="2000" err="1">
                <a:latin typeface="Arial (Body)"/>
              </a:rPr>
              <a:t>trí</a:t>
            </a:r>
            <a:r>
              <a:rPr lang="en-US" sz="2000">
                <a:latin typeface="Arial (Body)"/>
              </a:rPr>
              <a:t> di căn</a:t>
            </a:r>
          </a:p>
        </p:txBody>
      </p:sp>
      <p:cxnSp>
        <p:nvCxnSpPr>
          <p:cNvPr id="100" name="Straight Connector 99">
            <a:extLst>
              <a:ext uri="{FF2B5EF4-FFF2-40B4-BE49-F238E27FC236}">
                <a16:creationId xmlns:a16="http://schemas.microsoft.com/office/drawing/2014/main" id="{C37D7D94-A4F8-436E-A575-EF167AFBCF7C}"/>
              </a:ext>
            </a:extLst>
          </p:cNvPr>
          <p:cNvCxnSpPr>
            <a:cxnSpLocks/>
          </p:cNvCxnSpPr>
          <p:nvPr/>
        </p:nvCxnSpPr>
        <p:spPr>
          <a:xfrm flipV="1">
            <a:off x="7374044" y="6569826"/>
            <a:ext cx="4543026" cy="7974"/>
          </a:xfrm>
          <a:prstGeom prst="line">
            <a:avLst/>
          </a:prstGeom>
          <a:ln w="1270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85" name="Group 184">
            <a:extLst>
              <a:ext uri="{FF2B5EF4-FFF2-40B4-BE49-F238E27FC236}">
                <a16:creationId xmlns:a16="http://schemas.microsoft.com/office/drawing/2014/main" id="{8ED9B3ED-7120-4603-8CCD-E00D81660B0D}"/>
              </a:ext>
            </a:extLst>
          </p:cNvPr>
          <p:cNvGrpSpPr/>
          <p:nvPr/>
        </p:nvGrpSpPr>
        <p:grpSpPr>
          <a:xfrm>
            <a:off x="8979061" y="2055603"/>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grpSp>
        <p:nvGrpSpPr>
          <p:cNvPr id="2" name="Group 7">
            <a:extLst>
              <a:ext uri="{FF2B5EF4-FFF2-40B4-BE49-F238E27FC236}">
                <a16:creationId xmlns:a16="http://schemas.microsoft.com/office/drawing/2014/main" id="{FA0E0F7B-6AC1-997A-FC4E-E6B5B370DE0B}"/>
              </a:ext>
            </a:extLst>
          </p:cNvPr>
          <p:cNvGrpSpPr/>
          <p:nvPr/>
        </p:nvGrpSpPr>
        <p:grpSpPr>
          <a:xfrm>
            <a:off x="533401" y="492718"/>
            <a:ext cx="8075021" cy="965827"/>
            <a:chOff x="533401" y="492718"/>
            <a:chExt cx="8075021" cy="965827"/>
          </a:xfrm>
        </p:grpSpPr>
        <p:sp>
          <p:nvSpPr>
            <p:cNvPr id="3" name="TextBox 12">
              <a:extLst>
                <a:ext uri="{FF2B5EF4-FFF2-40B4-BE49-F238E27FC236}">
                  <a16:creationId xmlns:a16="http://schemas.microsoft.com/office/drawing/2014/main" id="{B94A1BF3-AA4B-8CD0-5F53-CD7D79A5DF07}"/>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44793FD9-FFA6-9F3C-55BF-66B061AAB52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ES" sz="3200" b="1">
                  <a:solidFill>
                    <a:prstClr val="black"/>
                  </a:solidFill>
                  <a:latin typeface="Arial" panose="020B0604020202020204" pitchFamily="34" charset="0"/>
                  <a:ea typeface="Segoe UI Black" panose="020B0A02040204020203" pitchFamily="34" charset="0"/>
                  <a:cs typeface="Arial" panose="020B0604020202020204" pitchFamily="34" charset="0"/>
                </a:rPr>
                <a:t>3</a:t>
              </a: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 Xác định bản chất u</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sp>
        <p:nvSpPr>
          <p:cNvPr id="6" name="Hộp Văn bản 5">
            <a:extLst>
              <a:ext uri="{FF2B5EF4-FFF2-40B4-BE49-F238E27FC236}">
                <a16:creationId xmlns:a16="http://schemas.microsoft.com/office/drawing/2014/main" id="{078404D9-FB5D-916E-25BD-6B810729824A}"/>
              </a:ext>
            </a:extLst>
          </p:cNvPr>
          <p:cNvSpPr txBox="1"/>
          <p:nvPr/>
        </p:nvSpPr>
        <p:spPr>
          <a:xfrm>
            <a:off x="533401" y="5958526"/>
            <a:ext cx="9213924" cy="276999"/>
          </a:xfrm>
          <a:prstGeom prst="rect">
            <a:avLst/>
          </a:prstGeom>
          <a:noFill/>
        </p:spPr>
        <p:txBody>
          <a:bodyPr wrap="square">
            <a:spAutoFit/>
          </a:bodyPr>
          <a:lstStyle/>
          <a:p>
            <a:r>
              <a:rPr lang="en-US" sz="1200">
                <a:latin typeface="Roboto" panose="02000000000000000000" pitchFamily="2" charset="0"/>
              </a:rPr>
              <a:t>[1] Carlos Castillo. </a:t>
            </a:r>
            <a:r>
              <a:rPr lang="en-US" sz="1200"/>
              <a:t>Clinical manifestations, diagnosis, and staging of exocrine pancreatic cancer. Uptodate 2022.</a:t>
            </a:r>
            <a:endParaRPr lang="vi-VN" sz="1200">
              <a:latin typeface="Roboto" panose="02000000000000000000" pitchFamily="2" charset="0"/>
            </a:endParaRPr>
          </a:p>
        </p:txBody>
      </p:sp>
      <p:grpSp>
        <p:nvGrpSpPr>
          <p:cNvPr id="7" name="Nhóm 6">
            <a:extLst>
              <a:ext uri="{FF2B5EF4-FFF2-40B4-BE49-F238E27FC236}">
                <a16:creationId xmlns:a16="http://schemas.microsoft.com/office/drawing/2014/main" id="{0A3538C7-985A-BA5D-A857-79492EFA7908}"/>
              </a:ext>
            </a:extLst>
          </p:cNvPr>
          <p:cNvGrpSpPr/>
          <p:nvPr/>
        </p:nvGrpSpPr>
        <p:grpSpPr>
          <a:xfrm>
            <a:off x="1662324" y="1738489"/>
            <a:ext cx="278677" cy="3978469"/>
            <a:chOff x="693767" y="2146686"/>
            <a:chExt cx="278677" cy="3978469"/>
          </a:xfrm>
        </p:grpSpPr>
        <p:grpSp>
          <p:nvGrpSpPr>
            <p:cNvPr id="9" name="Nhóm 8">
              <a:extLst>
                <a:ext uri="{FF2B5EF4-FFF2-40B4-BE49-F238E27FC236}">
                  <a16:creationId xmlns:a16="http://schemas.microsoft.com/office/drawing/2014/main" id="{EAFF3FC8-3F08-A1F4-0F6A-5D42431D0E61}"/>
                </a:ext>
              </a:extLst>
            </p:cNvPr>
            <p:cNvGrpSpPr/>
            <p:nvPr/>
          </p:nvGrpSpPr>
          <p:grpSpPr>
            <a:xfrm>
              <a:off x="693767" y="2146686"/>
              <a:ext cx="278677" cy="3978469"/>
              <a:chOff x="657259" y="2651864"/>
              <a:chExt cx="278677" cy="3978469"/>
            </a:xfrm>
          </p:grpSpPr>
          <p:cxnSp>
            <p:nvCxnSpPr>
              <p:cNvPr id="12" name="Đường nối Thẳng 11">
                <a:extLst>
                  <a:ext uri="{FF2B5EF4-FFF2-40B4-BE49-F238E27FC236}">
                    <a16:creationId xmlns:a16="http://schemas.microsoft.com/office/drawing/2014/main" id="{D3F4176C-0EB8-C526-7AEA-9A951D0704AF}"/>
                  </a:ext>
                </a:extLst>
              </p:cNvPr>
              <p:cNvCxnSpPr>
                <a:cxnSpLocks/>
              </p:cNvCxnSpPr>
              <p:nvPr/>
            </p:nvCxnSpPr>
            <p:spPr>
              <a:xfrm>
                <a:off x="798879" y="2651864"/>
                <a:ext cx="0" cy="3978469"/>
              </a:xfrm>
              <a:prstGeom prst="line">
                <a:avLst/>
              </a:prstGeom>
            </p:spPr>
            <p:style>
              <a:lnRef idx="1">
                <a:schemeClr val="accent2"/>
              </a:lnRef>
              <a:fillRef idx="0">
                <a:schemeClr val="accent2"/>
              </a:fillRef>
              <a:effectRef idx="0">
                <a:schemeClr val="accent2"/>
              </a:effectRef>
              <a:fontRef idx="minor">
                <a:schemeClr val="tx1"/>
              </a:fontRef>
            </p:style>
          </p:cxnSp>
          <p:sp>
            <p:nvSpPr>
              <p:cNvPr id="16" name="TextBox 116">
                <a:extLst>
                  <a:ext uri="{FF2B5EF4-FFF2-40B4-BE49-F238E27FC236}">
                    <a16:creationId xmlns:a16="http://schemas.microsoft.com/office/drawing/2014/main" id="{CF873443-11A4-F3BD-AFEE-7904C3AC1DD3}"/>
                  </a:ext>
                </a:extLst>
              </p:cNvPr>
              <p:cNvSpPr txBox="1"/>
              <p:nvPr/>
            </p:nvSpPr>
            <p:spPr>
              <a:xfrm>
                <a:off x="657259" y="308853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grpSp>
        <p:sp>
          <p:nvSpPr>
            <p:cNvPr id="10" name="TextBox 116">
              <a:extLst>
                <a:ext uri="{FF2B5EF4-FFF2-40B4-BE49-F238E27FC236}">
                  <a16:creationId xmlns:a16="http://schemas.microsoft.com/office/drawing/2014/main" id="{CF6FA629-C13E-D31F-F893-A0C5722D5D7F}"/>
                </a:ext>
              </a:extLst>
            </p:cNvPr>
            <p:cNvSpPr txBox="1"/>
            <p:nvPr/>
          </p:nvSpPr>
          <p:spPr>
            <a:xfrm>
              <a:off x="693767" y="5770628"/>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1" name="TextBox 116">
              <a:extLst>
                <a:ext uri="{FF2B5EF4-FFF2-40B4-BE49-F238E27FC236}">
                  <a16:creationId xmlns:a16="http://schemas.microsoft.com/office/drawing/2014/main" id="{98869B10-D245-EDD5-D4C9-3F2E0C4A5D74}"/>
                </a:ext>
              </a:extLst>
            </p:cNvPr>
            <p:cNvSpPr txBox="1"/>
            <p:nvPr/>
          </p:nvSpPr>
          <p:spPr>
            <a:xfrm>
              <a:off x="693767" y="4386725"/>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grpSp>
      <p:sp>
        <p:nvSpPr>
          <p:cNvPr id="18" name="TextBox 116">
            <a:extLst>
              <a:ext uri="{FF2B5EF4-FFF2-40B4-BE49-F238E27FC236}">
                <a16:creationId xmlns:a16="http://schemas.microsoft.com/office/drawing/2014/main" id="{FD0943EF-2BD2-EDB1-F619-F8A8BEA645E7}"/>
              </a:ext>
            </a:extLst>
          </p:cNvPr>
          <p:cNvSpPr txBox="1"/>
          <p:nvPr/>
        </p:nvSpPr>
        <p:spPr>
          <a:xfrm>
            <a:off x="1662324" y="4852431"/>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Tree>
    <p:extLst>
      <p:ext uri="{BB962C8B-B14F-4D97-AF65-F5344CB8AC3E}">
        <p14:creationId xmlns:p14="http://schemas.microsoft.com/office/powerpoint/2010/main" val="15452323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ộp Văn bản 4">
            <a:extLst>
              <a:ext uri="{FF2B5EF4-FFF2-40B4-BE49-F238E27FC236}">
                <a16:creationId xmlns:a16="http://schemas.microsoft.com/office/drawing/2014/main" id="{7BE305E6-8544-7F91-E9C3-A651B73524F5}"/>
              </a:ext>
            </a:extLst>
          </p:cNvPr>
          <p:cNvSpPr txBox="1"/>
          <p:nvPr/>
        </p:nvSpPr>
        <p:spPr>
          <a:xfrm>
            <a:off x="1906208" y="1959756"/>
            <a:ext cx="7412361" cy="3266985"/>
          </a:xfrm>
          <a:prstGeom prst="rect">
            <a:avLst/>
          </a:prstGeom>
          <a:solidFill>
            <a:schemeClr val="bg1">
              <a:lumMod val="95000"/>
              <a:alpha val="50000"/>
            </a:schemeClr>
          </a:solidFill>
        </p:spPr>
        <p:txBody>
          <a:bodyPr wrap="square" rtlCol="0">
            <a:spAutoFit/>
          </a:bodyPr>
          <a:lstStyle/>
          <a:p>
            <a:pPr>
              <a:lnSpc>
                <a:spcPct val="150000"/>
              </a:lnSpc>
            </a:pPr>
            <a:r>
              <a:rPr lang="en-US" sz="2000" u="sng">
                <a:latin typeface="Arial (Body)"/>
              </a:rPr>
              <a:t>Ung thư đầu tụy: </a:t>
            </a:r>
          </a:p>
          <a:p>
            <a:pPr marL="285750" indent="-285750">
              <a:lnSpc>
                <a:spcPct val="150000"/>
              </a:lnSpc>
              <a:buFontTx/>
              <a:buChar char="-"/>
            </a:pPr>
            <a:r>
              <a:rPr lang="en-US" sz="2000">
                <a:latin typeface="Arial (Body)"/>
              </a:rPr>
              <a:t>U có thể phẫu thuật: Không bắt buộc có GPB trước mổ.</a:t>
            </a:r>
          </a:p>
          <a:p>
            <a:pPr marL="285750" indent="-285750">
              <a:lnSpc>
                <a:spcPct val="150000"/>
              </a:lnSpc>
              <a:buFontTx/>
              <a:buChar char="-"/>
            </a:pPr>
            <a:r>
              <a:rPr lang="en-US" sz="2000">
                <a:latin typeface="Arial (Body)"/>
              </a:rPr>
              <a:t>KC GPB trước mổ khi nghi ngờ bệnh lành tính: </a:t>
            </a:r>
          </a:p>
          <a:p>
            <a:pPr>
              <a:lnSpc>
                <a:spcPct val="150000"/>
              </a:lnSpc>
            </a:pPr>
            <a:r>
              <a:rPr lang="en-US" sz="2000">
                <a:latin typeface="Arial (Body)"/>
              </a:rPr>
              <a:t>+ Lâm sàng: trẻ tuổi, tiền căn dùng rượu, bệnh tự miễn khác </a:t>
            </a:r>
          </a:p>
          <a:p>
            <a:pPr>
              <a:lnSpc>
                <a:spcPct val="150000"/>
              </a:lnSpc>
            </a:pPr>
            <a:r>
              <a:rPr lang="en-US" sz="2000">
                <a:latin typeface="Arial (Body)"/>
              </a:rPr>
              <a:t>+ Hình ảnh học: ống tụy, đường mật hẹp nhiều vị trí</a:t>
            </a:r>
          </a:p>
          <a:p>
            <a:pPr marL="285750" indent="-285750">
              <a:lnSpc>
                <a:spcPct val="150000"/>
              </a:lnSpc>
              <a:buFontTx/>
              <a:buChar char="-"/>
            </a:pPr>
            <a:r>
              <a:rPr lang="en-US" sz="2000">
                <a:latin typeface="Arial (Body)"/>
              </a:rPr>
              <a:t>U giáp biên, u không thể cắt: bắt buộc có GPB để hướng dẫn điều trị </a:t>
            </a:r>
          </a:p>
        </p:txBody>
      </p:sp>
      <p:cxnSp>
        <p:nvCxnSpPr>
          <p:cNvPr id="100" name="Straight Connector 99">
            <a:extLst>
              <a:ext uri="{FF2B5EF4-FFF2-40B4-BE49-F238E27FC236}">
                <a16:creationId xmlns:a16="http://schemas.microsoft.com/office/drawing/2014/main" id="{C37D7D94-A4F8-436E-A575-EF167AFBCF7C}"/>
              </a:ext>
            </a:extLst>
          </p:cNvPr>
          <p:cNvCxnSpPr>
            <a:cxnSpLocks/>
          </p:cNvCxnSpPr>
          <p:nvPr/>
        </p:nvCxnSpPr>
        <p:spPr>
          <a:xfrm flipV="1">
            <a:off x="7374044" y="6569826"/>
            <a:ext cx="4543026" cy="7974"/>
          </a:xfrm>
          <a:prstGeom prst="line">
            <a:avLst/>
          </a:prstGeom>
          <a:ln w="1270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85" name="Group 184">
            <a:extLst>
              <a:ext uri="{FF2B5EF4-FFF2-40B4-BE49-F238E27FC236}">
                <a16:creationId xmlns:a16="http://schemas.microsoft.com/office/drawing/2014/main" id="{8ED9B3ED-7120-4603-8CCD-E00D81660B0D}"/>
              </a:ext>
            </a:extLst>
          </p:cNvPr>
          <p:cNvGrpSpPr/>
          <p:nvPr/>
        </p:nvGrpSpPr>
        <p:grpSpPr>
          <a:xfrm>
            <a:off x="8979061" y="2055603"/>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grpSp>
        <p:nvGrpSpPr>
          <p:cNvPr id="2" name="Group 7">
            <a:extLst>
              <a:ext uri="{FF2B5EF4-FFF2-40B4-BE49-F238E27FC236}">
                <a16:creationId xmlns:a16="http://schemas.microsoft.com/office/drawing/2014/main" id="{FA0E0F7B-6AC1-997A-FC4E-E6B5B370DE0B}"/>
              </a:ext>
            </a:extLst>
          </p:cNvPr>
          <p:cNvGrpSpPr/>
          <p:nvPr/>
        </p:nvGrpSpPr>
        <p:grpSpPr>
          <a:xfrm>
            <a:off x="533401" y="492718"/>
            <a:ext cx="8075021" cy="965827"/>
            <a:chOff x="533401" y="492718"/>
            <a:chExt cx="8075021" cy="965827"/>
          </a:xfrm>
        </p:grpSpPr>
        <p:sp>
          <p:nvSpPr>
            <p:cNvPr id="3" name="TextBox 12">
              <a:extLst>
                <a:ext uri="{FF2B5EF4-FFF2-40B4-BE49-F238E27FC236}">
                  <a16:creationId xmlns:a16="http://schemas.microsoft.com/office/drawing/2014/main" id="{B94A1BF3-AA4B-8CD0-5F53-CD7D79A5DF07}"/>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44793FD9-FFA6-9F3C-55BF-66B061AAB52F}"/>
                </a:ext>
              </a:extLst>
            </p:cNvPr>
            <p:cNvSpPr txBox="1"/>
            <p:nvPr/>
          </p:nvSpPr>
          <p:spPr>
            <a:xfrm>
              <a:off x="533401" y="966102"/>
              <a:ext cx="8075021" cy="492443"/>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ES" sz="3200" b="1">
                  <a:solidFill>
                    <a:prstClr val="black"/>
                  </a:solidFill>
                  <a:latin typeface="Arial" panose="020B0604020202020204" pitchFamily="34" charset="0"/>
                  <a:ea typeface="Segoe UI Black" panose="020B0A02040204020203" pitchFamily="34" charset="0"/>
                  <a:cs typeface="Arial" panose="020B0604020202020204" pitchFamily="34" charset="0"/>
                </a:rPr>
                <a:t>3</a:t>
              </a:r>
              <a:r>
                <a:rPr kumimoji="0" lang="es-E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rPr>
                <a:t>. Xác định bản chất u</a:t>
              </a: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Segoe UI Black" panose="020B0A02040204020203" pitchFamily="34" charset="0"/>
                <a:cs typeface="Arial" panose="020B0604020202020204" pitchFamily="34" charset="0"/>
              </a:endParaRPr>
            </a:p>
          </p:txBody>
        </p:sp>
      </p:grpSp>
      <p:sp>
        <p:nvSpPr>
          <p:cNvPr id="6" name="Hộp Văn bản 5">
            <a:extLst>
              <a:ext uri="{FF2B5EF4-FFF2-40B4-BE49-F238E27FC236}">
                <a16:creationId xmlns:a16="http://schemas.microsoft.com/office/drawing/2014/main" id="{078404D9-FB5D-916E-25BD-6B810729824A}"/>
              </a:ext>
            </a:extLst>
          </p:cNvPr>
          <p:cNvSpPr txBox="1"/>
          <p:nvPr/>
        </p:nvSpPr>
        <p:spPr>
          <a:xfrm>
            <a:off x="533401" y="5958526"/>
            <a:ext cx="9213924" cy="400110"/>
          </a:xfrm>
          <a:prstGeom prst="rect">
            <a:avLst/>
          </a:prstGeom>
          <a:noFill/>
        </p:spPr>
        <p:txBody>
          <a:bodyPr wrap="square">
            <a:spAutoFit/>
          </a:bodyPr>
          <a:lstStyle/>
          <a:p>
            <a:r>
              <a:rPr lang="en-US" sz="1000">
                <a:latin typeface="Arial" panose="020B0604020202020204" pitchFamily="34" charset="0"/>
                <a:cs typeface="Arial" panose="020B0604020202020204" pitchFamily="34" charset="0"/>
              </a:rPr>
              <a:t>[1] Carlos Castillo. Clinical manifestations, diagnosis, and staging of exocrine pancreatic cancer. Uptodate 2022.</a:t>
            </a:r>
            <a:br>
              <a:rPr lang="en-US" sz="1000">
                <a:latin typeface="Arial" panose="020B0604020202020204" pitchFamily="34" charset="0"/>
                <a:cs typeface="Arial" panose="020B0604020202020204" pitchFamily="34" charset="0"/>
              </a:rPr>
            </a:br>
            <a:r>
              <a:rPr lang="en-US" sz="1000">
                <a:latin typeface="Arial" panose="020B0604020202020204" pitchFamily="34" charset="0"/>
                <a:cs typeface="Arial" panose="020B0604020202020204" pitchFamily="34" charset="0"/>
              </a:rPr>
              <a:t>[2] NCCN 2021</a:t>
            </a:r>
            <a:endParaRPr lang="vi-VN" sz="1000">
              <a:latin typeface="Arial" panose="020B0604020202020204" pitchFamily="34" charset="0"/>
              <a:cs typeface="Arial" panose="020B0604020202020204" pitchFamily="34" charset="0"/>
            </a:endParaRPr>
          </a:p>
        </p:txBody>
      </p:sp>
      <p:sp>
        <p:nvSpPr>
          <p:cNvPr id="18" name="TextBox 116">
            <a:extLst>
              <a:ext uri="{FF2B5EF4-FFF2-40B4-BE49-F238E27FC236}">
                <a16:creationId xmlns:a16="http://schemas.microsoft.com/office/drawing/2014/main" id="{FD0943EF-2BD2-EDB1-F619-F8A8BEA645E7}"/>
              </a:ext>
            </a:extLst>
          </p:cNvPr>
          <p:cNvSpPr txBox="1"/>
          <p:nvPr/>
        </p:nvSpPr>
        <p:spPr>
          <a:xfrm rot="1901732">
            <a:off x="835387" y="4346377"/>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457200" rtl="0" eaLnBrk="1" fontAlgn="auto" latinLnBrk="0" hangingPunct="1">
              <a:lnSpc>
                <a:spcPct val="90000"/>
              </a:lnSpc>
              <a:spcBef>
                <a:spcPts val="1000"/>
              </a:spcBef>
              <a:spcAft>
                <a:spcPts val="0"/>
              </a:spcAft>
              <a:buClrTx/>
              <a:buSzPct val="100000"/>
              <a:buFont typeface="Arial" panose="020B0604020202020204" pitchFamily="34" charset="0"/>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Tree>
    <p:extLst>
      <p:ext uri="{BB962C8B-B14F-4D97-AF65-F5344CB8AC3E}">
        <p14:creationId xmlns:p14="http://schemas.microsoft.com/office/powerpoint/2010/main" val="33494889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8">
            <a:extLst>
              <a:ext uri="{FF2B5EF4-FFF2-40B4-BE49-F238E27FC236}">
                <a16:creationId xmlns:a16="http://schemas.microsoft.com/office/drawing/2014/main" id="{85C505E8-202C-D1D6-1A1C-E3944802EF63}"/>
              </a:ext>
            </a:extLst>
          </p:cNvPr>
          <p:cNvSpPr/>
          <p:nvPr/>
        </p:nvSpPr>
        <p:spPr>
          <a:xfrm>
            <a:off x="9141825" y="0"/>
            <a:ext cx="305017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3" name="Hộp Văn bản 2">
            <a:extLst>
              <a:ext uri="{FF2B5EF4-FFF2-40B4-BE49-F238E27FC236}">
                <a16:creationId xmlns:a16="http://schemas.microsoft.com/office/drawing/2014/main" id="{A62706C6-E26A-D042-7BA3-FAD48E57BD57}"/>
              </a:ext>
            </a:extLst>
          </p:cNvPr>
          <p:cNvSpPr txBox="1"/>
          <p:nvPr/>
        </p:nvSpPr>
        <p:spPr>
          <a:xfrm>
            <a:off x="853722" y="1235372"/>
            <a:ext cx="10687756" cy="461665"/>
          </a:xfrm>
          <a:prstGeom prst="rect">
            <a:avLst/>
          </a:prstGeom>
          <a:noFill/>
        </p:spPr>
        <p:txBody>
          <a:bodyPr wrap="square" rtlCol="0">
            <a:spAutoFit/>
          </a:bodyPr>
          <a:lstStyle/>
          <a:p>
            <a:r>
              <a:rPr lang="en-US" sz="2400" b="1">
                <a:latin typeface="Arial" panose="020B0604020202020204" pitchFamily="34" charset="0"/>
                <a:cs typeface="Arial" panose="020B0604020202020204" pitchFamily="34" charset="0"/>
              </a:rPr>
              <a:t>Ung thư </a:t>
            </a:r>
            <a:r>
              <a:rPr lang="en-US" sz="2400" b="1" err="1">
                <a:latin typeface="Arial" panose="020B0604020202020204" pitchFamily="34" charset="0"/>
                <a:cs typeface="Arial" panose="020B0604020202020204" pitchFamily="34" charset="0"/>
              </a:rPr>
              <a:t>đầu</a:t>
            </a:r>
            <a:r>
              <a:rPr lang="en-US" sz="2400" b="1">
                <a:latin typeface="Arial" panose="020B0604020202020204" pitchFamily="34" charset="0"/>
                <a:cs typeface="Arial" panose="020B0604020202020204" pitchFamily="34" charset="0"/>
              </a:rPr>
              <a:t> </a:t>
            </a:r>
            <a:r>
              <a:rPr lang="en-US" sz="2400" b="1" err="1">
                <a:latin typeface="Arial" panose="020B0604020202020204" pitchFamily="34" charset="0"/>
                <a:cs typeface="Arial" panose="020B0604020202020204" pitchFamily="34" charset="0"/>
              </a:rPr>
              <a:t>tụy</a:t>
            </a:r>
            <a:endParaRPr lang="vi-VN" sz="2400" b="1">
              <a:latin typeface="Arial" panose="020B0604020202020204" pitchFamily="34" charset="0"/>
              <a:cs typeface="Arial" panose="020B0604020202020204" pitchFamily="34" charset="0"/>
            </a:endParaRPr>
          </a:p>
        </p:txBody>
      </p:sp>
      <p:pic>
        <p:nvPicPr>
          <p:cNvPr id="5" name="Picture 4" descr="Diagram&#10;&#10;Description automatically generated">
            <a:extLst>
              <a:ext uri="{FF2B5EF4-FFF2-40B4-BE49-F238E27FC236}">
                <a16:creationId xmlns:a16="http://schemas.microsoft.com/office/drawing/2014/main" id="{621B16A7-6324-CC35-D378-9252E95B8B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122" y="2086134"/>
            <a:ext cx="7114223" cy="4371975"/>
          </a:xfrm>
          <a:prstGeom prst="rect">
            <a:avLst/>
          </a:prstGeom>
        </p:spPr>
      </p:pic>
      <p:pic>
        <p:nvPicPr>
          <p:cNvPr id="7" name="Picture 6" descr="Table&#10;&#10;Description automatically generated">
            <a:extLst>
              <a:ext uri="{FF2B5EF4-FFF2-40B4-BE49-F238E27FC236}">
                <a16:creationId xmlns:a16="http://schemas.microsoft.com/office/drawing/2014/main" id="{BB656194-E66A-CDFC-EDDA-2D62E1B535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64500" y="1939046"/>
            <a:ext cx="4127500" cy="2717800"/>
          </a:xfrm>
          <a:prstGeom prst="rect">
            <a:avLst/>
          </a:prstGeom>
        </p:spPr>
      </p:pic>
      <p:grpSp>
        <p:nvGrpSpPr>
          <p:cNvPr id="8" name="Group 84">
            <a:extLst>
              <a:ext uri="{FF2B5EF4-FFF2-40B4-BE49-F238E27FC236}">
                <a16:creationId xmlns:a16="http://schemas.microsoft.com/office/drawing/2014/main" id="{F1BFF0C1-48FB-2FAB-C734-6133A6FD1C76}"/>
              </a:ext>
            </a:extLst>
          </p:cNvPr>
          <p:cNvGrpSpPr/>
          <p:nvPr/>
        </p:nvGrpSpPr>
        <p:grpSpPr>
          <a:xfrm>
            <a:off x="273758" y="208441"/>
            <a:ext cx="5257798" cy="965827"/>
            <a:chOff x="533402" y="492718"/>
            <a:chExt cx="3443250" cy="965827"/>
          </a:xfrm>
        </p:grpSpPr>
        <p:sp>
          <p:nvSpPr>
            <p:cNvPr id="9" name="TextBox 6">
              <a:extLst>
                <a:ext uri="{FF2B5EF4-FFF2-40B4-BE49-F238E27FC236}">
                  <a16:creationId xmlns:a16="http://schemas.microsoft.com/office/drawing/2014/main" id="{2482FBEE-111F-3DFB-DC77-57FCB9918E7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0" name="TextBox 50">
              <a:extLst>
                <a:ext uri="{FF2B5EF4-FFF2-40B4-BE49-F238E27FC236}">
                  <a16:creationId xmlns:a16="http://schemas.microsoft.com/office/drawing/2014/main" id="{2BDCECE8-051E-177A-F163-6598B9F53E01}"/>
                </a:ext>
              </a:extLst>
            </p:cNvPr>
            <p:cNvSpPr txBox="1"/>
            <p:nvPr/>
          </p:nvSpPr>
          <p:spPr>
            <a:xfrm>
              <a:off x="533402" y="966102"/>
              <a:ext cx="3443250" cy="492443"/>
            </a:xfrm>
            <a:prstGeom prst="rect">
              <a:avLst/>
            </a:prstGeom>
            <a:noFill/>
          </p:spPr>
          <p:txBody>
            <a:bodyPr wrap="none" lIns="0" tIns="0" rIns="0" bIns="0" rtlCol="0" anchor="ctr">
              <a:spAutoFit/>
            </a:bodyPr>
            <a:lstStyle/>
            <a:p>
              <a:r>
                <a:rPr lang="en-US" sz="3200" b="1">
                  <a:latin typeface="Arial" panose="020B0604020202020204" pitchFamily="34" charset="0"/>
                  <a:ea typeface="Segoe UI Black" panose="020B0A02040204020203" pitchFamily="34" charset="0"/>
                  <a:cs typeface="Arial" panose="020B0604020202020204" pitchFamily="34" charset="0"/>
                </a:rPr>
                <a:t>PHÂN GIAI ĐOẠN</a:t>
              </a:r>
            </a:p>
          </p:txBody>
        </p:sp>
      </p:grpSp>
      <p:sp>
        <p:nvSpPr>
          <p:cNvPr id="11" name="Freeform: Shape 67">
            <a:extLst>
              <a:ext uri="{FF2B5EF4-FFF2-40B4-BE49-F238E27FC236}">
                <a16:creationId xmlns:a16="http://schemas.microsoft.com/office/drawing/2014/main" id="{A5CBE78D-8563-02E8-C14B-B50DC1D13235}"/>
              </a:ext>
            </a:extLst>
          </p:cNvPr>
          <p:cNvSpPr/>
          <p:nvPr/>
        </p:nvSpPr>
        <p:spPr>
          <a:xfrm>
            <a:off x="0"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13" name="Group 83">
            <a:extLst>
              <a:ext uri="{FF2B5EF4-FFF2-40B4-BE49-F238E27FC236}">
                <a16:creationId xmlns:a16="http://schemas.microsoft.com/office/drawing/2014/main" id="{89B3E674-CCE2-EBA0-1CEE-E056D43D4380}"/>
              </a:ext>
            </a:extLst>
          </p:cNvPr>
          <p:cNvGrpSpPr/>
          <p:nvPr/>
        </p:nvGrpSpPr>
        <p:grpSpPr>
          <a:xfrm flipH="1">
            <a:off x="7105710" y="256273"/>
            <a:ext cx="1065469" cy="767411"/>
            <a:chOff x="9631490" y="336605"/>
            <a:chExt cx="1065469" cy="767411"/>
          </a:xfrm>
        </p:grpSpPr>
        <p:sp>
          <p:nvSpPr>
            <p:cNvPr id="14" name="Freeform: Shape 81">
              <a:extLst>
                <a:ext uri="{FF2B5EF4-FFF2-40B4-BE49-F238E27FC236}">
                  <a16:creationId xmlns:a16="http://schemas.microsoft.com/office/drawing/2014/main" id="{7F1DB1E1-6928-E503-F658-F3841A0648D7}"/>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5" name="Freeform: Shape 82">
              <a:extLst>
                <a:ext uri="{FF2B5EF4-FFF2-40B4-BE49-F238E27FC236}">
                  <a16:creationId xmlns:a16="http://schemas.microsoft.com/office/drawing/2014/main" id="{880E6A6A-1A6E-2D08-6600-16F214ED265E}"/>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763149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able&#10;&#10;Description automatically generated">
            <a:extLst>
              <a:ext uri="{FF2B5EF4-FFF2-40B4-BE49-F238E27FC236}">
                <a16:creationId xmlns:a16="http://schemas.microsoft.com/office/drawing/2014/main" id="{59FF39BA-EAD6-7E87-665D-D9E9B122E9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1280" y="1544145"/>
            <a:ext cx="8598626" cy="5156672"/>
          </a:xfrm>
          <a:prstGeom prst="rect">
            <a:avLst/>
          </a:prstGeom>
        </p:spPr>
      </p:pic>
      <p:sp>
        <p:nvSpPr>
          <p:cNvPr id="4" name="Freeform: Shape 67">
            <a:extLst>
              <a:ext uri="{FF2B5EF4-FFF2-40B4-BE49-F238E27FC236}">
                <a16:creationId xmlns:a16="http://schemas.microsoft.com/office/drawing/2014/main" id="{4A1E2605-B582-8059-846C-110DC4417DC8}"/>
              </a:ext>
            </a:extLst>
          </p:cNvPr>
          <p:cNvSpPr/>
          <p:nvPr/>
        </p:nvSpPr>
        <p:spPr>
          <a:xfrm>
            <a:off x="48306" y="112027"/>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6" name="Freeform: Shape 58">
            <a:extLst>
              <a:ext uri="{FF2B5EF4-FFF2-40B4-BE49-F238E27FC236}">
                <a16:creationId xmlns:a16="http://schemas.microsoft.com/office/drawing/2014/main" id="{FDE650C3-630A-793E-4986-C4708A19B7F3}"/>
              </a:ext>
            </a:extLst>
          </p:cNvPr>
          <p:cNvSpPr/>
          <p:nvPr/>
        </p:nvSpPr>
        <p:spPr>
          <a:xfrm>
            <a:off x="9141825" y="0"/>
            <a:ext cx="305017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7" name="Group 83">
            <a:extLst>
              <a:ext uri="{FF2B5EF4-FFF2-40B4-BE49-F238E27FC236}">
                <a16:creationId xmlns:a16="http://schemas.microsoft.com/office/drawing/2014/main" id="{F5E557CF-3C15-D7A5-6ED5-2CAF16C91988}"/>
              </a:ext>
            </a:extLst>
          </p:cNvPr>
          <p:cNvGrpSpPr/>
          <p:nvPr/>
        </p:nvGrpSpPr>
        <p:grpSpPr>
          <a:xfrm flipH="1">
            <a:off x="7105710" y="256273"/>
            <a:ext cx="1065469" cy="767411"/>
            <a:chOff x="9631490" y="336605"/>
            <a:chExt cx="1065469" cy="767411"/>
          </a:xfrm>
        </p:grpSpPr>
        <p:sp>
          <p:nvSpPr>
            <p:cNvPr id="8" name="Freeform: Shape 81">
              <a:extLst>
                <a:ext uri="{FF2B5EF4-FFF2-40B4-BE49-F238E27FC236}">
                  <a16:creationId xmlns:a16="http://schemas.microsoft.com/office/drawing/2014/main" id="{1F1E50CC-3ADA-764F-CFDD-010856E837C5}"/>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9" name="Freeform: Shape 82">
              <a:extLst>
                <a:ext uri="{FF2B5EF4-FFF2-40B4-BE49-F238E27FC236}">
                  <a16:creationId xmlns:a16="http://schemas.microsoft.com/office/drawing/2014/main" id="{218077F4-0543-0717-A3DE-1CFF45FC17C0}"/>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12" name="Hộp Văn bản 11">
            <a:extLst>
              <a:ext uri="{FF2B5EF4-FFF2-40B4-BE49-F238E27FC236}">
                <a16:creationId xmlns:a16="http://schemas.microsoft.com/office/drawing/2014/main" id="{FAEDA56A-CF2C-D44E-94FF-8AF95202D5EF}"/>
              </a:ext>
            </a:extLst>
          </p:cNvPr>
          <p:cNvSpPr txBox="1"/>
          <p:nvPr/>
        </p:nvSpPr>
        <p:spPr>
          <a:xfrm>
            <a:off x="957385" y="1023684"/>
            <a:ext cx="10687756" cy="461665"/>
          </a:xfrm>
          <a:prstGeom prst="rect">
            <a:avLst/>
          </a:prstGeom>
          <a:noFill/>
        </p:spPr>
        <p:txBody>
          <a:bodyPr wrap="square" rtlCol="0">
            <a:spAutoFit/>
          </a:bodyPr>
          <a:lstStyle/>
          <a:p>
            <a:r>
              <a:rPr lang="en-US" sz="2400" b="1">
                <a:latin typeface="Arial" panose="020B0604020202020204" pitchFamily="34" charset="0"/>
                <a:cs typeface="Arial" panose="020B0604020202020204" pitchFamily="34" charset="0"/>
              </a:rPr>
              <a:t>Ung thư bóng vater</a:t>
            </a:r>
            <a:endParaRPr lang="vi-VN" sz="2400" b="1">
              <a:latin typeface="Arial" panose="020B0604020202020204" pitchFamily="34" charset="0"/>
              <a:cs typeface="Arial" panose="020B0604020202020204" pitchFamily="34" charset="0"/>
            </a:endParaRPr>
          </a:p>
        </p:txBody>
      </p:sp>
      <p:grpSp>
        <p:nvGrpSpPr>
          <p:cNvPr id="13" name="Group 84">
            <a:extLst>
              <a:ext uri="{FF2B5EF4-FFF2-40B4-BE49-F238E27FC236}">
                <a16:creationId xmlns:a16="http://schemas.microsoft.com/office/drawing/2014/main" id="{A17B2839-FC81-7D2A-8EAB-24C01B7B0D19}"/>
              </a:ext>
            </a:extLst>
          </p:cNvPr>
          <p:cNvGrpSpPr/>
          <p:nvPr/>
        </p:nvGrpSpPr>
        <p:grpSpPr>
          <a:xfrm>
            <a:off x="273758" y="208441"/>
            <a:ext cx="5375703" cy="705454"/>
            <a:chOff x="533402" y="492718"/>
            <a:chExt cx="3520464" cy="705454"/>
          </a:xfrm>
        </p:grpSpPr>
        <p:sp>
          <p:nvSpPr>
            <p:cNvPr id="14" name="TextBox 6">
              <a:extLst>
                <a:ext uri="{FF2B5EF4-FFF2-40B4-BE49-F238E27FC236}">
                  <a16:creationId xmlns:a16="http://schemas.microsoft.com/office/drawing/2014/main" id="{4D11046A-FF65-16C9-54A9-E3663D502ADD}"/>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5" name="TextBox 50">
              <a:extLst>
                <a:ext uri="{FF2B5EF4-FFF2-40B4-BE49-F238E27FC236}">
                  <a16:creationId xmlns:a16="http://schemas.microsoft.com/office/drawing/2014/main" id="{CFF8C9F5-991E-4E47-6B69-3C9B038755BE}"/>
                </a:ext>
              </a:extLst>
            </p:cNvPr>
            <p:cNvSpPr txBox="1"/>
            <p:nvPr/>
          </p:nvSpPr>
          <p:spPr>
            <a:xfrm>
              <a:off x="610616" y="705729"/>
              <a:ext cx="3443250" cy="492443"/>
            </a:xfrm>
            <a:prstGeom prst="rect">
              <a:avLst/>
            </a:prstGeom>
            <a:noFill/>
          </p:spPr>
          <p:txBody>
            <a:bodyPr wrap="none" lIns="0" tIns="0" rIns="0" bIns="0" rtlCol="0" anchor="ctr">
              <a:spAutoFit/>
            </a:bodyPr>
            <a:lstStyle/>
            <a:p>
              <a:r>
                <a:rPr lang="en-US" sz="3200" b="1">
                  <a:latin typeface="Arial" panose="020B0604020202020204" pitchFamily="34" charset="0"/>
                  <a:ea typeface="Segoe UI Black" panose="020B0A02040204020203" pitchFamily="34" charset="0"/>
                  <a:cs typeface="Arial" panose="020B0604020202020204" pitchFamily="34" charset="0"/>
                </a:rPr>
                <a:t>PHÂN GIAI ĐOẠN</a:t>
              </a:r>
            </a:p>
          </p:txBody>
        </p:sp>
      </p:grpSp>
    </p:spTree>
    <p:extLst>
      <p:ext uri="{BB962C8B-B14F-4D97-AF65-F5344CB8AC3E}">
        <p14:creationId xmlns:p14="http://schemas.microsoft.com/office/powerpoint/2010/main" val="16247823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8">
            <a:extLst>
              <a:ext uri="{FF2B5EF4-FFF2-40B4-BE49-F238E27FC236}">
                <a16:creationId xmlns:a16="http://schemas.microsoft.com/office/drawing/2014/main" id="{12634B66-ADA6-15F5-7A58-4AD9D237085A}"/>
              </a:ext>
            </a:extLst>
          </p:cNvPr>
          <p:cNvSpPr/>
          <p:nvPr/>
        </p:nvSpPr>
        <p:spPr>
          <a:xfrm>
            <a:off x="9141825" y="0"/>
            <a:ext cx="305017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5" name="Picture 4" descr="Table&#10;&#10;Description automatically generated">
            <a:extLst>
              <a:ext uri="{FF2B5EF4-FFF2-40B4-BE49-F238E27FC236}">
                <a16:creationId xmlns:a16="http://schemas.microsoft.com/office/drawing/2014/main" id="{C214ACD0-3F3E-A078-12BD-74DB8ECAD8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10705" y="1476022"/>
            <a:ext cx="8556208" cy="5061367"/>
          </a:xfrm>
          <a:prstGeom prst="rect">
            <a:avLst/>
          </a:prstGeom>
        </p:spPr>
      </p:pic>
      <p:sp>
        <p:nvSpPr>
          <p:cNvPr id="4" name="Freeform: Shape 67">
            <a:extLst>
              <a:ext uri="{FF2B5EF4-FFF2-40B4-BE49-F238E27FC236}">
                <a16:creationId xmlns:a16="http://schemas.microsoft.com/office/drawing/2014/main" id="{EF320249-FA67-60D2-4841-6B0DE714738D}"/>
              </a:ext>
            </a:extLst>
          </p:cNvPr>
          <p:cNvSpPr/>
          <p:nvPr/>
        </p:nvSpPr>
        <p:spPr>
          <a:xfrm>
            <a:off x="0"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7" name="Group 83">
            <a:extLst>
              <a:ext uri="{FF2B5EF4-FFF2-40B4-BE49-F238E27FC236}">
                <a16:creationId xmlns:a16="http://schemas.microsoft.com/office/drawing/2014/main" id="{8E08F040-2D6F-67A2-D4CD-66AC316ED45D}"/>
              </a:ext>
            </a:extLst>
          </p:cNvPr>
          <p:cNvGrpSpPr/>
          <p:nvPr/>
        </p:nvGrpSpPr>
        <p:grpSpPr>
          <a:xfrm flipH="1">
            <a:off x="7105710" y="256273"/>
            <a:ext cx="1065469" cy="767411"/>
            <a:chOff x="9631490" y="336605"/>
            <a:chExt cx="1065469" cy="767411"/>
          </a:xfrm>
        </p:grpSpPr>
        <p:sp>
          <p:nvSpPr>
            <p:cNvPr id="8" name="Freeform: Shape 81">
              <a:extLst>
                <a:ext uri="{FF2B5EF4-FFF2-40B4-BE49-F238E27FC236}">
                  <a16:creationId xmlns:a16="http://schemas.microsoft.com/office/drawing/2014/main" id="{236CDBCA-B838-4916-25AE-25D992F627B3}"/>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9" name="Freeform: Shape 82">
              <a:extLst>
                <a:ext uri="{FF2B5EF4-FFF2-40B4-BE49-F238E27FC236}">
                  <a16:creationId xmlns:a16="http://schemas.microsoft.com/office/drawing/2014/main" id="{D83C638D-C21B-814E-AA63-A47869728E6E}"/>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12" name="Hộp Văn bản 11">
            <a:extLst>
              <a:ext uri="{FF2B5EF4-FFF2-40B4-BE49-F238E27FC236}">
                <a16:creationId xmlns:a16="http://schemas.microsoft.com/office/drawing/2014/main" id="{23B60DDC-5BD8-A729-5EA0-2FFF035381DE}"/>
              </a:ext>
            </a:extLst>
          </p:cNvPr>
          <p:cNvSpPr txBox="1"/>
          <p:nvPr/>
        </p:nvSpPr>
        <p:spPr>
          <a:xfrm>
            <a:off x="966586" y="989007"/>
            <a:ext cx="10687756" cy="461665"/>
          </a:xfrm>
          <a:prstGeom prst="rect">
            <a:avLst/>
          </a:prstGeom>
          <a:noFill/>
        </p:spPr>
        <p:txBody>
          <a:bodyPr wrap="square" rtlCol="0">
            <a:spAutoFit/>
          </a:bodyPr>
          <a:lstStyle/>
          <a:p>
            <a:r>
              <a:rPr lang="en-US" sz="2400" b="1">
                <a:latin typeface="Arial" panose="020B0604020202020204" pitchFamily="34" charset="0"/>
                <a:cs typeface="Arial" panose="020B0604020202020204" pitchFamily="34" charset="0"/>
              </a:rPr>
              <a:t>Ung thư đoạn cuối OMC</a:t>
            </a:r>
            <a:endParaRPr lang="vi-VN" sz="2400" b="1">
              <a:latin typeface="Arial" panose="020B0604020202020204" pitchFamily="34" charset="0"/>
              <a:cs typeface="Arial" panose="020B0604020202020204" pitchFamily="34" charset="0"/>
            </a:endParaRPr>
          </a:p>
        </p:txBody>
      </p:sp>
      <p:grpSp>
        <p:nvGrpSpPr>
          <p:cNvPr id="13" name="Group 84">
            <a:extLst>
              <a:ext uri="{FF2B5EF4-FFF2-40B4-BE49-F238E27FC236}">
                <a16:creationId xmlns:a16="http://schemas.microsoft.com/office/drawing/2014/main" id="{5C71B842-778C-3955-3657-18C79AB9B7C3}"/>
              </a:ext>
            </a:extLst>
          </p:cNvPr>
          <p:cNvGrpSpPr/>
          <p:nvPr/>
        </p:nvGrpSpPr>
        <p:grpSpPr>
          <a:xfrm>
            <a:off x="282959" y="173764"/>
            <a:ext cx="5375703" cy="705454"/>
            <a:chOff x="533402" y="492718"/>
            <a:chExt cx="3520464" cy="705454"/>
          </a:xfrm>
        </p:grpSpPr>
        <p:sp>
          <p:nvSpPr>
            <p:cNvPr id="14" name="TextBox 6">
              <a:extLst>
                <a:ext uri="{FF2B5EF4-FFF2-40B4-BE49-F238E27FC236}">
                  <a16:creationId xmlns:a16="http://schemas.microsoft.com/office/drawing/2014/main" id="{C1CDB648-544D-2440-B4B1-AE6F151E9947}"/>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5" name="TextBox 50">
              <a:extLst>
                <a:ext uri="{FF2B5EF4-FFF2-40B4-BE49-F238E27FC236}">
                  <a16:creationId xmlns:a16="http://schemas.microsoft.com/office/drawing/2014/main" id="{79831675-13B3-C8F4-86E4-611BB7567BFE}"/>
                </a:ext>
              </a:extLst>
            </p:cNvPr>
            <p:cNvSpPr txBox="1"/>
            <p:nvPr/>
          </p:nvSpPr>
          <p:spPr>
            <a:xfrm>
              <a:off x="610616" y="705729"/>
              <a:ext cx="3443250" cy="492443"/>
            </a:xfrm>
            <a:prstGeom prst="rect">
              <a:avLst/>
            </a:prstGeom>
            <a:noFill/>
          </p:spPr>
          <p:txBody>
            <a:bodyPr wrap="none" lIns="0" tIns="0" rIns="0" bIns="0" rtlCol="0" anchor="ctr">
              <a:spAutoFit/>
            </a:bodyPr>
            <a:lstStyle/>
            <a:p>
              <a:r>
                <a:rPr lang="en-US" sz="3200" b="1">
                  <a:latin typeface="Arial" panose="020B0604020202020204" pitchFamily="34" charset="0"/>
                  <a:ea typeface="Segoe UI Black" panose="020B0A02040204020203" pitchFamily="34" charset="0"/>
                  <a:cs typeface="Arial" panose="020B0604020202020204" pitchFamily="34" charset="0"/>
                </a:rPr>
                <a:t>PHÂN GIAI ĐOẠN</a:t>
              </a:r>
            </a:p>
          </p:txBody>
        </p:sp>
      </p:grpSp>
    </p:spTree>
    <p:extLst>
      <p:ext uri="{BB962C8B-B14F-4D97-AF65-F5344CB8AC3E}">
        <p14:creationId xmlns:p14="http://schemas.microsoft.com/office/powerpoint/2010/main" val="4147621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Hình chữ nhật 16">
            <a:extLst>
              <a:ext uri="{FF2B5EF4-FFF2-40B4-BE49-F238E27FC236}">
                <a16:creationId xmlns:a16="http://schemas.microsoft.com/office/drawing/2014/main" id="{8A1E9A56-73A0-FFAA-D6BF-DCBE78AEBCCD}"/>
              </a:ext>
            </a:extLst>
          </p:cNvPr>
          <p:cNvSpPr/>
          <p:nvPr/>
        </p:nvSpPr>
        <p:spPr>
          <a:xfrm>
            <a:off x="4101102" y="2502980"/>
            <a:ext cx="2336400" cy="3087746"/>
          </a:xfrm>
          <a:prstGeom prst="rect">
            <a:avLst/>
          </a:prstGeom>
          <a:solidFill>
            <a:schemeClr val="bg1">
              <a:lumMod val="95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latin typeface="Arial" panose="020B0604020202020204" pitchFamily="34" charset="0"/>
              <a:cs typeface="Arial" panose="020B0604020202020204" pitchFamily="34" charset="0"/>
            </a:endParaRPr>
          </a:p>
        </p:txBody>
      </p:sp>
      <p:sp>
        <p:nvSpPr>
          <p:cNvPr id="18" name="Hình chữ nhật 17">
            <a:extLst>
              <a:ext uri="{FF2B5EF4-FFF2-40B4-BE49-F238E27FC236}">
                <a16:creationId xmlns:a16="http://schemas.microsoft.com/office/drawing/2014/main" id="{245A3A00-7FCD-D71F-FEBE-664552CE087A}"/>
              </a:ext>
            </a:extLst>
          </p:cNvPr>
          <p:cNvSpPr/>
          <p:nvPr/>
        </p:nvSpPr>
        <p:spPr>
          <a:xfrm>
            <a:off x="6681634" y="2502980"/>
            <a:ext cx="2986400" cy="3087746"/>
          </a:xfrm>
          <a:prstGeom prst="rect">
            <a:avLst/>
          </a:prstGeom>
          <a:solidFill>
            <a:schemeClr val="bg1">
              <a:lumMod val="95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latin typeface="Arial" panose="020B0604020202020204" pitchFamily="34" charset="0"/>
              <a:cs typeface="Arial" panose="020B0604020202020204" pitchFamily="34" charset="0"/>
            </a:endParaRPr>
          </a:p>
        </p:txBody>
      </p:sp>
      <p:grpSp>
        <p:nvGrpSpPr>
          <p:cNvPr id="82" name="Group 81">
            <a:extLst>
              <a:ext uri="{FF2B5EF4-FFF2-40B4-BE49-F238E27FC236}">
                <a16:creationId xmlns:a16="http://schemas.microsoft.com/office/drawing/2014/main" id="{714A87C3-3EFB-4722-BF0D-17138DEB6B2B}"/>
              </a:ext>
            </a:extLst>
          </p:cNvPr>
          <p:cNvGrpSpPr/>
          <p:nvPr/>
        </p:nvGrpSpPr>
        <p:grpSpPr>
          <a:xfrm>
            <a:off x="0" y="4924717"/>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Hình chữ nhật 15">
            <a:extLst>
              <a:ext uri="{FF2B5EF4-FFF2-40B4-BE49-F238E27FC236}">
                <a16:creationId xmlns:a16="http://schemas.microsoft.com/office/drawing/2014/main" id="{D4012241-6543-326F-A076-A23997B2FBE6}"/>
              </a:ext>
            </a:extLst>
          </p:cNvPr>
          <p:cNvSpPr/>
          <p:nvPr/>
        </p:nvSpPr>
        <p:spPr>
          <a:xfrm>
            <a:off x="1429256" y="2481380"/>
            <a:ext cx="2336400" cy="3087746"/>
          </a:xfrm>
          <a:prstGeom prst="rect">
            <a:avLst/>
          </a:prstGeom>
          <a:solidFill>
            <a:schemeClr val="bg1">
              <a:lumMod val="95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latin typeface="Arial" panose="020B0604020202020204" pitchFamily="34" charset="0"/>
              <a:cs typeface="Arial" panose="020B0604020202020204" pitchFamily="34" charset="0"/>
            </a:endParaRPr>
          </a:p>
        </p:txBody>
      </p:sp>
      <p:sp>
        <p:nvSpPr>
          <p:cNvPr id="3" name="Google Shape;2160;p49">
            <a:extLst>
              <a:ext uri="{FF2B5EF4-FFF2-40B4-BE49-F238E27FC236}">
                <a16:creationId xmlns:a16="http://schemas.microsoft.com/office/drawing/2014/main" id="{85E83714-A81A-5730-EC8F-7A5679725199}"/>
              </a:ext>
            </a:extLst>
          </p:cNvPr>
          <p:cNvSpPr txBox="1">
            <a:spLocks/>
          </p:cNvSpPr>
          <p:nvPr/>
        </p:nvSpPr>
        <p:spPr>
          <a:xfrm>
            <a:off x="1416196" y="2873041"/>
            <a:ext cx="2336400" cy="527700"/>
          </a:xfrm>
          <a:prstGeom prst="rect">
            <a:avLst/>
          </a:prstGeom>
        </p:spPr>
        <p:txBody>
          <a:bodyPr spcFirstLastPara="1" vert="horz" wrap="square" lIns="91425" tIns="91425" rIns="91425" bIns="91425" rtlCol="0" anchor="ctr" anchorCtr="0">
            <a:noAutofit/>
          </a:bodyPr>
          <a:lstStyle>
            <a:lvl1pPr algn="l" defTabSz="457200" rtl="0" eaLnBrk="1" latinLnBrk="0" hangingPunct="1">
              <a:spcBef>
                <a:spcPct val="0"/>
              </a:spcBef>
              <a:buNone/>
              <a:defRPr sz="4200" b="0" i="0" kern="1200">
                <a:solidFill>
                  <a:schemeClr val="tx2"/>
                </a:solidFill>
                <a:latin typeface="Times  New Roman"/>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spcBef>
                <a:spcPts val="0"/>
              </a:spcBef>
            </a:pPr>
            <a:r>
              <a:rPr lang="en-ID" sz="3200" b="1" err="1">
                <a:latin typeface="Arial" panose="020B0604020202020204" pitchFamily="34" charset="0"/>
                <a:cs typeface="Arial" panose="020B0604020202020204" pitchFamily="34" charset="0"/>
              </a:rPr>
              <a:t>Tuổi</a:t>
            </a:r>
            <a:endParaRPr lang="en-ID" sz="3200" b="1">
              <a:latin typeface="Arial" panose="020B0604020202020204" pitchFamily="34" charset="0"/>
              <a:cs typeface="Arial" panose="020B0604020202020204" pitchFamily="34" charset="0"/>
            </a:endParaRPr>
          </a:p>
        </p:txBody>
      </p:sp>
      <p:sp>
        <p:nvSpPr>
          <p:cNvPr id="4" name="Google Shape;2161;p49">
            <a:extLst>
              <a:ext uri="{FF2B5EF4-FFF2-40B4-BE49-F238E27FC236}">
                <a16:creationId xmlns:a16="http://schemas.microsoft.com/office/drawing/2014/main" id="{682D2B58-1076-2545-B2E0-5C60CF50ED4E}"/>
              </a:ext>
            </a:extLst>
          </p:cNvPr>
          <p:cNvSpPr txBox="1">
            <a:spLocks/>
          </p:cNvSpPr>
          <p:nvPr/>
        </p:nvSpPr>
        <p:spPr>
          <a:xfrm>
            <a:off x="1416196" y="3656110"/>
            <a:ext cx="2336400" cy="840300"/>
          </a:xfrm>
          <a:prstGeom prst="rect">
            <a:avLst/>
          </a:prstGeom>
        </p:spPr>
        <p:txBody>
          <a:bodyPr spcFirstLastPara="1" wrap="square" lIns="91425" tIns="91425" rIns="91425" bIns="91425" anchor="ctr" anchorCtr="0">
            <a:no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Times   New Roman"/>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Times   New Roman"/>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Times   New Roman"/>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Times   New Roman"/>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Times   New Roman"/>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None/>
            </a:pPr>
            <a:r>
              <a:rPr lang="en-US" err="1">
                <a:latin typeface="Arial" panose="020B0604020202020204" pitchFamily="34" charset="0"/>
                <a:cs typeface="Arial" panose="020B0604020202020204" pitchFamily="34" charset="0"/>
              </a:rPr>
              <a:t>Tăng</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heo</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uổi</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đa</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phần</a:t>
            </a:r>
            <a:r>
              <a:rPr lang="en-US">
                <a:latin typeface="Arial" panose="020B0604020202020204" pitchFamily="34" charset="0"/>
                <a:cs typeface="Arial" panose="020B0604020202020204" pitchFamily="34" charset="0"/>
              </a:rPr>
              <a:t> ở </a:t>
            </a:r>
            <a:r>
              <a:rPr lang="en-US" err="1">
                <a:latin typeface="Arial" panose="020B0604020202020204" pitchFamily="34" charset="0"/>
                <a:cs typeface="Arial" panose="020B0604020202020204" pitchFamily="34" charset="0"/>
              </a:rPr>
              <a:t>độ</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uổi</a:t>
            </a:r>
            <a:r>
              <a:rPr lang="en-US">
                <a:latin typeface="Arial" panose="020B0604020202020204" pitchFamily="34" charset="0"/>
                <a:cs typeface="Arial" panose="020B0604020202020204" pitchFamily="34" charset="0"/>
              </a:rPr>
              <a:t> ≥ 60 </a:t>
            </a:r>
            <a:r>
              <a:rPr lang="en-US" err="1">
                <a:latin typeface="Arial" panose="020B0604020202020204" pitchFamily="34" charset="0"/>
                <a:cs typeface="Arial" panose="020B0604020202020204" pitchFamily="34" charset="0"/>
              </a:rPr>
              <a:t>tuổi</a:t>
            </a:r>
            <a:r>
              <a:rPr lang="en-US">
                <a:latin typeface="Arial" panose="020B0604020202020204" pitchFamily="34" charset="0"/>
                <a:cs typeface="Arial" panose="020B0604020202020204" pitchFamily="34" charset="0"/>
              </a:rPr>
              <a:t> )</a:t>
            </a:r>
          </a:p>
        </p:txBody>
      </p:sp>
      <p:sp>
        <p:nvSpPr>
          <p:cNvPr id="5" name="Google Shape;2162;p49">
            <a:extLst>
              <a:ext uri="{FF2B5EF4-FFF2-40B4-BE49-F238E27FC236}">
                <a16:creationId xmlns:a16="http://schemas.microsoft.com/office/drawing/2014/main" id="{F618C304-A284-19B1-DB9E-1CBB85D9C352}"/>
              </a:ext>
            </a:extLst>
          </p:cNvPr>
          <p:cNvSpPr txBox="1">
            <a:spLocks/>
          </p:cNvSpPr>
          <p:nvPr/>
        </p:nvSpPr>
        <p:spPr>
          <a:xfrm>
            <a:off x="4101102" y="2818250"/>
            <a:ext cx="2336400" cy="527700"/>
          </a:xfrm>
          <a:prstGeom prst="rect">
            <a:avLst/>
          </a:prstGeom>
        </p:spPr>
        <p:txBody>
          <a:bodyPr spcFirstLastPara="1" wrap="square" lIns="91425" tIns="91425" rIns="91425" bIns="91425" anchor="ctr" anchorCtr="0">
            <a:noAutofit/>
          </a:bodyPr>
          <a:lstStyle>
            <a:lvl1pPr algn="l" defTabSz="457200" rtl="0" eaLnBrk="1" latinLnBrk="0" hangingPunct="1">
              <a:spcBef>
                <a:spcPct val="0"/>
              </a:spcBef>
              <a:buNone/>
              <a:defRPr sz="4200" b="0" i="0" kern="1200">
                <a:solidFill>
                  <a:schemeClr val="tx2"/>
                </a:solidFill>
                <a:latin typeface="Times  New Roman"/>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spcBef>
                <a:spcPts val="0"/>
              </a:spcBef>
            </a:pPr>
            <a:r>
              <a:rPr lang="en-ID" sz="3200" b="1" err="1">
                <a:latin typeface="Arial" panose="020B0604020202020204" pitchFamily="34" charset="0"/>
                <a:cs typeface="Arial" panose="020B0604020202020204" pitchFamily="34" charset="0"/>
              </a:rPr>
              <a:t>Giới</a:t>
            </a:r>
            <a:r>
              <a:rPr lang="en-ID" sz="3200" b="1">
                <a:latin typeface="Arial" panose="020B0604020202020204" pitchFamily="34" charset="0"/>
                <a:cs typeface="Arial" panose="020B0604020202020204" pitchFamily="34" charset="0"/>
              </a:rPr>
              <a:t> </a:t>
            </a:r>
            <a:r>
              <a:rPr lang="en-ID" sz="3200" b="1" err="1">
                <a:latin typeface="Arial" panose="020B0604020202020204" pitchFamily="34" charset="0"/>
                <a:cs typeface="Arial" panose="020B0604020202020204" pitchFamily="34" charset="0"/>
              </a:rPr>
              <a:t>tính</a:t>
            </a:r>
            <a:endParaRPr lang="en-ID" sz="3200" b="1">
              <a:latin typeface="Arial" panose="020B0604020202020204" pitchFamily="34" charset="0"/>
              <a:cs typeface="Arial" panose="020B0604020202020204" pitchFamily="34" charset="0"/>
            </a:endParaRPr>
          </a:p>
        </p:txBody>
      </p:sp>
      <p:sp>
        <p:nvSpPr>
          <p:cNvPr id="6" name="Google Shape;2163;p49">
            <a:extLst>
              <a:ext uri="{FF2B5EF4-FFF2-40B4-BE49-F238E27FC236}">
                <a16:creationId xmlns:a16="http://schemas.microsoft.com/office/drawing/2014/main" id="{95696897-C516-271F-74C8-D3DBDC81F86C}"/>
              </a:ext>
            </a:extLst>
          </p:cNvPr>
          <p:cNvSpPr txBox="1">
            <a:spLocks/>
          </p:cNvSpPr>
          <p:nvPr/>
        </p:nvSpPr>
        <p:spPr>
          <a:xfrm>
            <a:off x="4342167" y="3653467"/>
            <a:ext cx="2336400" cy="840300"/>
          </a:xfrm>
          <a:prstGeom prst="rect">
            <a:avLst/>
          </a:prstGeom>
        </p:spPr>
        <p:txBody>
          <a:bodyPr spcFirstLastPara="1" wrap="square" lIns="91425" tIns="91425" rIns="91425" bIns="91425" anchor="ctr" anchorCtr="0">
            <a:no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Times   New Roman"/>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Times   New Roman"/>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Times   New Roman"/>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Times   New Roman"/>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Times   New Roman"/>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None/>
            </a:pPr>
            <a:r>
              <a:rPr lang="vi-VN">
                <a:latin typeface="Arial" panose="020B0604020202020204" pitchFamily="34" charset="0"/>
                <a:cs typeface="Arial" panose="020B0604020202020204" pitchFamily="34" charset="0"/>
              </a:rPr>
              <a:t>Thường ở nam nhiều hơn nữ</a:t>
            </a:r>
          </a:p>
        </p:txBody>
      </p:sp>
      <p:sp>
        <p:nvSpPr>
          <p:cNvPr id="7" name="Google Shape;2164;p49">
            <a:extLst>
              <a:ext uri="{FF2B5EF4-FFF2-40B4-BE49-F238E27FC236}">
                <a16:creationId xmlns:a16="http://schemas.microsoft.com/office/drawing/2014/main" id="{83906388-974C-4372-4399-9193DA70B6A1}"/>
              </a:ext>
            </a:extLst>
          </p:cNvPr>
          <p:cNvSpPr txBox="1">
            <a:spLocks/>
          </p:cNvSpPr>
          <p:nvPr/>
        </p:nvSpPr>
        <p:spPr>
          <a:xfrm>
            <a:off x="7006634" y="2801422"/>
            <a:ext cx="2336400" cy="527700"/>
          </a:xfrm>
          <a:prstGeom prst="rect">
            <a:avLst/>
          </a:prstGeom>
        </p:spPr>
        <p:txBody>
          <a:bodyPr spcFirstLastPara="1" wrap="square" lIns="91425" tIns="91425" rIns="91425" bIns="91425" anchor="ctr" anchorCtr="0">
            <a:noAutofit/>
          </a:bodyPr>
          <a:lstStyle>
            <a:lvl1pPr algn="l" defTabSz="457200" rtl="0" eaLnBrk="1" latinLnBrk="0" hangingPunct="1">
              <a:spcBef>
                <a:spcPct val="0"/>
              </a:spcBef>
              <a:buNone/>
              <a:defRPr sz="4200" b="0" i="0" kern="1200">
                <a:solidFill>
                  <a:schemeClr val="tx2"/>
                </a:solidFill>
                <a:latin typeface="Times  New Roman"/>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spcBef>
                <a:spcPts val="0"/>
              </a:spcBef>
            </a:pPr>
            <a:r>
              <a:rPr lang="en-ID" sz="3200" b="1" err="1">
                <a:latin typeface="Arial" panose="020B0604020202020204" pitchFamily="34" charset="0"/>
                <a:cs typeface="Arial" panose="020B0604020202020204" pitchFamily="34" charset="0"/>
              </a:rPr>
              <a:t>Tần</a:t>
            </a:r>
            <a:r>
              <a:rPr lang="en-ID" sz="3200" b="1">
                <a:latin typeface="Arial" panose="020B0604020202020204" pitchFamily="34" charset="0"/>
                <a:cs typeface="Arial" panose="020B0604020202020204" pitchFamily="34" charset="0"/>
              </a:rPr>
              <a:t> </a:t>
            </a:r>
            <a:r>
              <a:rPr lang="en-ID" sz="3200" b="1" err="1">
                <a:latin typeface="Arial" panose="020B0604020202020204" pitchFamily="34" charset="0"/>
                <a:cs typeface="Arial" panose="020B0604020202020204" pitchFamily="34" charset="0"/>
              </a:rPr>
              <a:t>suất</a:t>
            </a:r>
            <a:endParaRPr lang="en-ID" sz="3200" b="1">
              <a:latin typeface="Arial" panose="020B0604020202020204" pitchFamily="34" charset="0"/>
              <a:cs typeface="Arial" panose="020B0604020202020204" pitchFamily="34" charset="0"/>
            </a:endParaRPr>
          </a:p>
        </p:txBody>
      </p:sp>
      <p:sp>
        <p:nvSpPr>
          <p:cNvPr id="8" name="Google Shape;2165;p49">
            <a:extLst>
              <a:ext uri="{FF2B5EF4-FFF2-40B4-BE49-F238E27FC236}">
                <a16:creationId xmlns:a16="http://schemas.microsoft.com/office/drawing/2014/main" id="{95FADF8D-1304-76B7-7632-35D7D79A9E2A}"/>
              </a:ext>
            </a:extLst>
          </p:cNvPr>
          <p:cNvSpPr/>
          <p:nvPr/>
        </p:nvSpPr>
        <p:spPr>
          <a:xfrm>
            <a:off x="2193196" y="1944379"/>
            <a:ext cx="782400" cy="782400"/>
          </a:xfrm>
          <a:prstGeom prst="ellipse">
            <a:avLst/>
          </a:prstGeom>
          <a:solidFill>
            <a:schemeClr val="bg1"/>
          </a:solidFill>
          <a:ln w="63500" cap="flat" cmpd="sng">
            <a:solidFill>
              <a:srgbClr val="56ABC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Arial" panose="020B0604020202020204" pitchFamily="34" charset="0"/>
              <a:cs typeface="Arial" panose="020B0604020202020204" pitchFamily="34" charset="0"/>
            </a:endParaRPr>
          </a:p>
        </p:txBody>
      </p:sp>
      <p:sp>
        <p:nvSpPr>
          <p:cNvPr id="9" name="Google Shape;2166;p49">
            <a:extLst>
              <a:ext uri="{FF2B5EF4-FFF2-40B4-BE49-F238E27FC236}">
                <a16:creationId xmlns:a16="http://schemas.microsoft.com/office/drawing/2014/main" id="{7F4FD32E-BDCE-4C95-F453-6BA21DC11A05}"/>
              </a:ext>
            </a:extLst>
          </p:cNvPr>
          <p:cNvSpPr txBox="1">
            <a:spLocks/>
          </p:cNvSpPr>
          <p:nvPr/>
        </p:nvSpPr>
        <p:spPr>
          <a:xfrm>
            <a:off x="6681634" y="3685397"/>
            <a:ext cx="2986400" cy="1622025"/>
          </a:xfrm>
          <a:prstGeom prst="rect">
            <a:avLst/>
          </a:prstGeom>
        </p:spPr>
        <p:txBody>
          <a:bodyPr spcFirstLastPara="1" wrap="square" lIns="91425" tIns="91425" rIns="91425" bIns="91425" anchor="ctr" anchorCtr="0">
            <a:no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Times   New Roman"/>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Times   New Roman"/>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Times   New Roman"/>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Times   New Roman"/>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Times   New Roman"/>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r>
              <a:rPr lang="en-US">
                <a:latin typeface="Arial" panose="020B0604020202020204" pitchFamily="34" charset="0"/>
                <a:cs typeface="Arial" panose="020B0604020202020204" pitchFamily="34" charset="0"/>
              </a:rPr>
              <a:t>1. Ung </a:t>
            </a:r>
            <a:r>
              <a:rPr lang="en-US" err="1">
                <a:latin typeface="Arial" panose="020B0604020202020204" pitchFamily="34" charset="0"/>
                <a:cs typeface="Arial" panose="020B0604020202020204" pitchFamily="34" charset="0"/>
              </a:rPr>
              <a:t>thư</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đầu</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ụy</a:t>
            </a:r>
            <a:r>
              <a:rPr lang="en-US">
                <a:latin typeface="Arial" panose="020B0604020202020204" pitchFamily="34" charset="0"/>
                <a:cs typeface="Arial" panose="020B0604020202020204" pitchFamily="34" charset="0"/>
              </a:rPr>
              <a:t> </a:t>
            </a:r>
          </a:p>
          <a:p>
            <a:pPr marL="0" indent="0"/>
            <a:r>
              <a:rPr lang="en-US">
                <a:latin typeface="Arial" panose="020B0604020202020204" pitchFamily="34" charset="0"/>
                <a:cs typeface="Arial" panose="020B0604020202020204" pitchFamily="34" charset="0"/>
              </a:rPr>
              <a:t>2. Ung </a:t>
            </a:r>
            <a:r>
              <a:rPr lang="en-US" err="1">
                <a:latin typeface="Arial" panose="020B0604020202020204" pitchFamily="34" charset="0"/>
                <a:cs typeface="Arial" panose="020B0604020202020204" pitchFamily="34" charset="0"/>
              </a:rPr>
              <a:t>thư</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bóng</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vater</a:t>
            </a:r>
            <a:r>
              <a:rPr lang="en-US">
                <a:latin typeface="Arial" panose="020B0604020202020204" pitchFamily="34" charset="0"/>
                <a:cs typeface="Arial" panose="020B0604020202020204" pitchFamily="34" charset="0"/>
              </a:rPr>
              <a:t> </a:t>
            </a:r>
          </a:p>
          <a:p>
            <a:pPr marL="0" indent="0"/>
            <a:r>
              <a:rPr lang="en-US">
                <a:latin typeface="Arial" panose="020B0604020202020204" pitchFamily="34" charset="0"/>
                <a:cs typeface="Arial" panose="020B0604020202020204" pitchFamily="34" charset="0"/>
              </a:rPr>
              <a:t>3. Ung </a:t>
            </a:r>
            <a:r>
              <a:rPr lang="en-US" err="1">
                <a:latin typeface="Arial" panose="020B0604020202020204" pitchFamily="34" charset="0"/>
                <a:cs typeface="Arial" panose="020B0604020202020204" pitchFamily="34" charset="0"/>
              </a:rPr>
              <a:t>thư</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đoạn</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uối</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ống</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mật</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chủ</a:t>
            </a:r>
            <a:r>
              <a:rPr lang="en-US">
                <a:latin typeface="Arial" panose="020B0604020202020204" pitchFamily="34" charset="0"/>
                <a:cs typeface="Arial" panose="020B0604020202020204" pitchFamily="34" charset="0"/>
              </a:rPr>
              <a:t> </a:t>
            </a:r>
          </a:p>
          <a:p>
            <a:pPr marL="0" indent="0"/>
            <a:r>
              <a:rPr lang="en-US">
                <a:latin typeface="Arial" panose="020B0604020202020204" pitchFamily="34" charset="0"/>
                <a:cs typeface="Arial" panose="020B0604020202020204" pitchFamily="34" charset="0"/>
              </a:rPr>
              <a:t>4. </a:t>
            </a:r>
            <a:r>
              <a:rPr lang="vi-VN">
                <a:latin typeface="Arial" panose="020B0604020202020204" pitchFamily="34" charset="0"/>
                <a:cs typeface="Arial" panose="020B0604020202020204" pitchFamily="34" charset="0"/>
              </a:rPr>
              <a:t>Ung</a:t>
            </a:r>
            <a:r>
              <a:rPr lang="en-US">
                <a:latin typeface="Arial" panose="020B0604020202020204" pitchFamily="34" charset="0"/>
                <a:cs typeface="Arial" panose="020B0604020202020204" pitchFamily="34" charset="0"/>
              </a:rPr>
              <a:t> </a:t>
            </a:r>
            <a:r>
              <a:rPr lang="vi-VN">
                <a:latin typeface="Arial" panose="020B0604020202020204" pitchFamily="34" charset="0"/>
                <a:cs typeface="Arial" panose="020B0604020202020204" pitchFamily="34" charset="0"/>
              </a:rPr>
              <a:t>thư</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á</a:t>
            </a:r>
            <a:r>
              <a:rPr lang="en-US">
                <a:latin typeface="Arial" panose="020B0604020202020204" pitchFamily="34" charset="0"/>
                <a:cs typeface="Arial" panose="020B0604020202020204" pitchFamily="34" charset="0"/>
              </a:rPr>
              <a:t> </a:t>
            </a:r>
            <a:r>
              <a:rPr lang="en-US" err="1">
                <a:latin typeface="Arial" panose="020B0604020202020204" pitchFamily="34" charset="0"/>
                <a:cs typeface="Arial" panose="020B0604020202020204" pitchFamily="34" charset="0"/>
              </a:rPr>
              <a:t>tràng</a:t>
            </a:r>
            <a:endParaRPr lang="en-US">
              <a:latin typeface="Arial" panose="020B0604020202020204" pitchFamily="34" charset="0"/>
              <a:cs typeface="Arial" panose="020B0604020202020204" pitchFamily="34" charset="0"/>
            </a:endParaRPr>
          </a:p>
        </p:txBody>
      </p:sp>
      <p:sp>
        <p:nvSpPr>
          <p:cNvPr id="10" name="Google Shape;2167;p49">
            <a:extLst>
              <a:ext uri="{FF2B5EF4-FFF2-40B4-BE49-F238E27FC236}">
                <a16:creationId xmlns:a16="http://schemas.microsoft.com/office/drawing/2014/main" id="{F9D33E7A-1E17-BAEB-EBEB-FCD2ECEC4B46}"/>
              </a:ext>
            </a:extLst>
          </p:cNvPr>
          <p:cNvSpPr/>
          <p:nvPr/>
        </p:nvSpPr>
        <p:spPr>
          <a:xfrm>
            <a:off x="8164034" y="2481380"/>
            <a:ext cx="21600" cy="21600"/>
          </a:xfrm>
          <a:prstGeom prst="ellipse">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Arial" panose="020B0604020202020204" pitchFamily="34" charset="0"/>
              <a:cs typeface="Arial" panose="020B0604020202020204" pitchFamily="34" charset="0"/>
            </a:endParaRPr>
          </a:p>
        </p:txBody>
      </p:sp>
      <p:sp>
        <p:nvSpPr>
          <p:cNvPr id="11" name="Google Shape;2168;p49">
            <a:extLst>
              <a:ext uri="{FF2B5EF4-FFF2-40B4-BE49-F238E27FC236}">
                <a16:creationId xmlns:a16="http://schemas.microsoft.com/office/drawing/2014/main" id="{50AE829F-9106-23C5-03E6-AE55B445BDDB}"/>
              </a:ext>
            </a:extLst>
          </p:cNvPr>
          <p:cNvSpPr/>
          <p:nvPr/>
        </p:nvSpPr>
        <p:spPr>
          <a:xfrm>
            <a:off x="4878102" y="1924108"/>
            <a:ext cx="782400" cy="782400"/>
          </a:xfrm>
          <a:prstGeom prst="ellipse">
            <a:avLst/>
          </a:prstGeom>
          <a:solidFill>
            <a:schemeClr val="bg1"/>
          </a:solidFill>
          <a:ln w="63500" cap="flat" cmpd="sng">
            <a:solidFill>
              <a:srgbClr val="56ABC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Arial" panose="020B0604020202020204" pitchFamily="34" charset="0"/>
              <a:cs typeface="Arial" panose="020B0604020202020204" pitchFamily="34" charset="0"/>
            </a:endParaRPr>
          </a:p>
        </p:txBody>
      </p:sp>
      <p:sp>
        <p:nvSpPr>
          <p:cNvPr id="12" name="Google Shape;2169;p49">
            <a:extLst>
              <a:ext uri="{FF2B5EF4-FFF2-40B4-BE49-F238E27FC236}">
                <a16:creationId xmlns:a16="http://schemas.microsoft.com/office/drawing/2014/main" id="{6116EEFA-E256-5028-9392-C9BB33E876D7}"/>
              </a:ext>
            </a:extLst>
          </p:cNvPr>
          <p:cNvSpPr/>
          <p:nvPr/>
        </p:nvSpPr>
        <p:spPr>
          <a:xfrm>
            <a:off x="7783634" y="1908369"/>
            <a:ext cx="782400" cy="782400"/>
          </a:xfrm>
          <a:prstGeom prst="ellipse">
            <a:avLst/>
          </a:prstGeom>
          <a:solidFill>
            <a:schemeClr val="bg1"/>
          </a:solidFill>
          <a:ln w="63500" cap="flat" cmpd="sng">
            <a:solidFill>
              <a:srgbClr val="56ABC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Arial" panose="020B0604020202020204" pitchFamily="34" charset="0"/>
              <a:cs typeface="Arial" panose="020B0604020202020204" pitchFamily="34" charset="0"/>
            </a:endParaRPr>
          </a:p>
        </p:txBody>
      </p:sp>
      <p:pic>
        <p:nvPicPr>
          <p:cNvPr id="13" name="Picture 40" descr="Icon&#10;&#10;Description automatically generated">
            <a:extLst>
              <a:ext uri="{FF2B5EF4-FFF2-40B4-BE49-F238E27FC236}">
                <a16:creationId xmlns:a16="http://schemas.microsoft.com/office/drawing/2014/main" id="{A845544D-8488-1E81-41C2-99F7132DA017}"/>
              </a:ext>
            </a:extLst>
          </p:cNvPr>
          <p:cNvPicPr>
            <a:picLocks noChangeAspect="1"/>
          </p:cNvPicPr>
          <p:nvPr/>
        </p:nvPicPr>
        <p:blipFill>
          <a:blip r:embed="rId3"/>
          <a:stretch>
            <a:fillRect/>
          </a:stretch>
        </p:blipFill>
        <p:spPr>
          <a:xfrm>
            <a:off x="7839889" y="1961180"/>
            <a:ext cx="669890" cy="643666"/>
          </a:xfrm>
          <a:prstGeom prst="ellipse">
            <a:avLst/>
          </a:prstGeom>
        </p:spPr>
      </p:pic>
      <p:pic>
        <p:nvPicPr>
          <p:cNvPr id="14" name="Picture 41" descr="Icon&#10;&#10;Description automatically generated">
            <a:extLst>
              <a:ext uri="{FF2B5EF4-FFF2-40B4-BE49-F238E27FC236}">
                <a16:creationId xmlns:a16="http://schemas.microsoft.com/office/drawing/2014/main" id="{07574D66-6ABA-4D43-2369-7DE0D3982448}"/>
              </a:ext>
            </a:extLst>
          </p:cNvPr>
          <p:cNvPicPr>
            <a:picLocks noChangeAspect="1"/>
          </p:cNvPicPr>
          <p:nvPr/>
        </p:nvPicPr>
        <p:blipFill>
          <a:blip r:embed="rId4"/>
          <a:stretch>
            <a:fillRect/>
          </a:stretch>
        </p:blipFill>
        <p:spPr>
          <a:xfrm>
            <a:off x="4963089" y="2025770"/>
            <a:ext cx="612426" cy="579076"/>
          </a:xfrm>
          <a:prstGeom prst="ellipse">
            <a:avLst/>
          </a:prstGeom>
        </p:spPr>
      </p:pic>
      <p:pic>
        <p:nvPicPr>
          <p:cNvPr id="15" name="Picture 43">
            <a:extLst>
              <a:ext uri="{FF2B5EF4-FFF2-40B4-BE49-F238E27FC236}">
                <a16:creationId xmlns:a16="http://schemas.microsoft.com/office/drawing/2014/main" id="{16B0D382-9094-B133-D093-9D1BB720D4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2657" y="2055623"/>
            <a:ext cx="523479" cy="527700"/>
          </a:xfrm>
          <a:prstGeom prst="rect">
            <a:avLst/>
          </a:prstGeom>
        </p:spPr>
      </p:pic>
      <p:grpSp>
        <p:nvGrpSpPr>
          <p:cNvPr id="19" name="Group 7">
            <a:extLst>
              <a:ext uri="{FF2B5EF4-FFF2-40B4-BE49-F238E27FC236}">
                <a16:creationId xmlns:a16="http://schemas.microsoft.com/office/drawing/2014/main" id="{14F24B96-E481-6989-9E13-3A4FC04E8559}"/>
              </a:ext>
            </a:extLst>
          </p:cNvPr>
          <p:cNvGrpSpPr/>
          <p:nvPr/>
        </p:nvGrpSpPr>
        <p:grpSpPr>
          <a:xfrm>
            <a:off x="533402" y="492718"/>
            <a:ext cx="2887976" cy="965827"/>
            <a:chOff x="533402" y="492718"/>
            <a:chExt cx="2887976" cy="965827"/>
          </a:xfrm>
        </p:grpSpPr>
        <p:sp>
          <p:nvSpPr>
            <p:cNvPr id="20" name="TextBox 12">
              <a:extLst>
                <a:ext uri="{FF2B5EF4-FFF2-40B4-BE49-F238E27FC236}">
                  <a16:creationId xmlns:a16="http://schemas.microsoft.com/office/drawing/2014/main" id="{C0990BBD-950D-07A0-5894-C9DAE4A081B7}"/>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21" name="TextBox 13">
              <a:extLst>
                <a:ext uri="{FF2B5EF4-FFF2-40B4-BE49-F238E27FC236}">
                  <a16:creationId xmlns:a16="http://schemas.microsoft.com/office/drawing/2014/main" id="{DADB1713-8F10-B22F-D2E0-A03A9AB4F07D}"/>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 Giới thiệu</a:t>
              </a:r>
            </a:p>
          </p:txBody>
        </p:sp>
      </p:grpSp>
    </p:spTree>
    <p:extLst>
      <p:ext uri="{BB962C8B-B14F-4D97-AF65-F5344CB8AC3E}">
        <p14:creationId xmlns:p14="http://schemas.microsoft.com/office/powerpoint/2010/main" val="488871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58">
            <a:extLst>
              <a:ext uri="{FF2B5EF4-FFF2-40B4-BE49-F238E27FC236}">
                <a16:creationId xmlns:a16="http://schemas.microsoft.com/office/drawing/2014/main" id="{44147BC2-14D3-BBA0-1D7D-BFB218D63433}"/>
              </a:ext>
            </a:extLst>
          </p:cNvPr>
          <p:cNvSpPr/>
          <p:nvPr/>
        </p:nvSpPr>
        <p:spPr>
          <a:xfrm>
            <a:off x="9141825" y="0"/>
            <a:ext cx="3050177" cy="6858000"/>
          </a:xfrm>
          <a:custGeom>
            <a:avLst/>
            <a:gdLst>
              <a:gd name="connsiteX0" fmla="*/ 5003986 w 6092007"/>
              <a:gd name="connsiteY0" fmla="*/ 0 h 6858000"/>
              <a:gd name="connsiteX1" fmla="*/ 6092007 w 6092007"/>
              <a:gd name="connsiteY1" fmla="*/ 0 h 6858000"/>
              <a:gd name="connsiteX2" fmla="*/ 6092007 w 6092007"/>
              <a:gd name="connsiteY2" fmla="*/ 6858000 h 6858000"/>
              <a:gd name="connsiteX3" fmla="*/ 39671 w 6092007"/>
              <a:gd name="connsiteY3" fmla="*/ 6858000 h 6858000"/>
              <a:gd name="connsiteX4" fmla="*/ 33397 w 6092007"/>
              <a:gd name="connsiteY4" fmla="*/ 6834415 h 6858000"/>
              <a:gd name="connsiteX5" fmla="*/ 360875 w 6092007"/>
              <a:gd name="connsiteY5" fmla="*/ 5776687 h 6858000"/>
              <a:gd name="connsiteX6" fmla="*/ 4802246 w 6092007"/>
              <a:gd name="connsiteY6" fmla="*/ 3773715 h 6858000"/>
              <a:gd name="connsiteX7" fmla="*/ 5002553 w 6092007"/>
              <a:gd name="connsiteY7" fmla="*/ 6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2007" h="6858000">
                <a:moveTo>
                  <a:pt x="5003986" y="0"/>
                </a:moveTo>
                <a:lnTo>
                  <a:pt x="6092007" y="0"/>
                </a:lnTo>
                <a:lnTo>
                  <a:pt x="6092007" y="6858000"/>
                </a:lnTo>
                <a:lnTo>
                  <a:pt x="39671" y="6858000"/>
                </a:lnTo>
                <a:lnTo>
                  <a:pt x="33397" y="6834415"/>
                </a:lnTo>
                <a:cubicBezTo>
                  <a:pt x="-44920" y="6484258"/>
                  <a:pt x="-4401" y="6105677"/>
                  <a:pt x="360875" y="5776687"/>
                </a:cubicBezTo>
                <a:cubicBezTo>
                  <a:pt x="1091427" y="5118705"/>
                  <a:pt x="4023313" y="4760686"/>
                  <a:pt x="4802246" y="3773715"/>
                </a:cubicBezTo>
                <a:cubicBezTo>
                  <a:pt x="5532496" y="2848429"/>
                  <a:pt x="4895653" y="847328"/>
                  <a:pt x="5002553" y="6821"/>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4" name="Picture 3">
            <a:extLst>
              <a:ext uri="{FF2B5EF4-FFF2-40B4-BE49-F238E27FC236}">
                <a16:creationId xmlns:a16="http://schemas.microsoft.com/office/drawing/2014/main" id="{039B1C0D-F9E7-4264-C32D-210A3DDEC1D5}"/>
              </a:ext>
            </a:extLst>
          </p:cNvPr>
          <p:cNvPicPr>
            <a:picLocks noChangeAspect="1"/>
          </p:cNvPicPr>
          <p:nvPr/>
        </p:nvPicPr>
        <p:blipFill>
          <a:blip r:embed="rId2"/>
          <a:stretch>
            <a:fillRect/>
          </a:stretch>
        </p:blipFill>
        <p:spPr>
          <a:xfrm>
            <a:off x="504757" y="1892675"/>
            <a:ext cx="5578323" cy="3072650"/>
          </a:xfrm>
          <a:prstGeom prst="rect">
            <a:avLst/>
          </a:prstGeom>
        </p:spPr>
      </p:pic>
      <p:pic>
        <p:nvPicPr>
          <p:cNvPr id="5" name="Picture 4">
            <a:extLst>
              <a:ext uri="{FF2B5EF4-FFF2-40B4-BE49-F238E27FC236}">
                <a16:creationId xmlns:a16="http://schemas.microsoft.com/office/drawing/2014/main" id="{7BFD314C-4B7D-9A15-9891-CF3C8DA146BF}"/>
              </a:ext>
            </a:extLst>
          </p:cNvPr>
          <p:cNvPicPr>
            <a:picLocks noChangeAspect="1"/>
          </p:cNvPicPr>
          <p:nvPr/>
        </p:nvPicPr>
        <p:blipFill>
          <a:blip r:embed="rId3"/>
          <a:stretch>
            <a:fillRect/>
          </a:stretch>
        </p:blipFill>
        <p:spPr>
          <a:xfrm>
            <a:off x="6083080" y="1892675"/>
            <a:ext cx="5505165" cy="3072650"/>
          </a:xfrm>
          <a:prstGeom prst="rect">
            <a:avLst/>
          </a:prstGeom>
        </p:spPr>
      </p:pic>
      <p:sp>
        <p:nvSpPr>
          <p:cNvPr id="6" name="Freeform: Shape 67">
            <a:extLst>
              <a:ext uri="{FF2B5EF4-FFF2-40B4-BE49-F238E27FC236}">
                <a16:creationId xmlns:a16="http://schemas.microsoft.com/office/drawing/2014/main" id="{9B40552D-F321-3393-EB97-D122F47AA8E4}"/>
              </a:ext>
            </a:extLst>
          </p:cNvPr>
          <p:cNvSpPr/>
          <p:nvPr/>
        </p:nvSpPr>
        <p:spPr>
          <a:xfrm>
            <a:off x="0" y="0"/>
            <a:ext cx="3412395" cy="3793211"/>
          </a:xfrm>
          <a:custGeom>
            <a:avLst/>
            <a:gdLst>
              <a:gd name="connsiteX0" fmla="*/ 0 w 5554878"/>
              <a:gd name="connsiteY0" fmla="*/ 0 h 6174790"/>
              <a:gd name="connsiteX1" fmla="*/ 5436215 w 5554878"/>
              <a:gd name="connsiteY1" fmla="*/ 0 h 6174790"/>
              <a:gd name="connsiteX2" fmla="*/ 5488907 w 5554878"/>
              <a:gd name="connsiteY2" fmla="*/ 59383 h 6174790"/>
              <a:gd name="connsiteX3" fmla="*/ 5397500 w 5554878"/>
              <a:gd name="connsiteY3" fmla="*/ 533400 h 6174790"/>
              <a:gd name="connsiteX4" fmla="*/ 2044700 w 5554878"/>
              <a:gd name="connsiteY4" fmla="*/ 1943100 h 6174790"/>
              <a:gd name="connsiteX5" fmla="*/ 825500 w 5554878"/>
              <a:gd name="connsiteY5" fmla="*/ 3340100 h 6174790"/>
              <a:gd name="connsiteX6" fmla="*/ 723900 w 5554878"/>
              <a:gd name="connsiteY6" fmla="*/ 5702300 h 6174790"/>
              <a:gd name="connsiteX7" fmla="*/ 165100 w 5554878"/>
              <a:gd name="connsiteY7" fmla="*/ 6134894 h 6174790"/>
              <a:gd name="connsiteX8" fmla="*/ 0 w 5554878"/>
              <a:gd name="connsiteY8" fmla="*/ 6174790 h 617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4878" h="6174790">
                <a:moveTo>
                  <a:pt x="0" y="0"/>
                </a:moveTo>
                <a:lnTo>
                  <a:pt x="5436215" y="0"/>
                </a:lnTo>
                <a:lnTo>
                  <a:pt x="5488907" y="59383"/>
                </a:lnTo>
                <a:cubicBezTo>
                  <a:pt x="5596947" y="203208"/>
                  <a:pt x="5576226" y="358378"/>
                  <a:pt x="5397500" y="533400"/>
                </a:cubicBezTo>
                <a:cubicBezTo>
                  <a:pt x="4988983" y="933450"/>
                  <a:pt x="2806700" y="1475317"/>
                  <a:pt x="2044700" y="1943100"/>
                </a:cubicBezTo>
                <a:cubicBezTo>
                  <a:pt x="1282700" y="2410883"/>
                  <a:pt x="1045633" y="2713567"/>
                  <a:pt x="825500" y="3340100"/>
                </a:cubicBezTo>
                <a:cubicBezTo>
                  <a:pt x="605367" y="3966633"/>
                  <a:pt x="924983" y="5221817"/>
                  <a:pt x="723900" y="5702300"/>
                </a:cubicBezTo>
                <a:cubicBezTo>
                  <a:pt x="623359" y="5942542"/>
                  <a:pt x="393171" y="6067425"/>
                  <a:pt x="165100" y="6134894"/>
                </a:cubicBezTo>
                <a:lnTo>
                  <a:pt x="0" y="617479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nvGrpSpPr>
          <p:cNvPr id="8" name="Group 83">
            <a:extLst>
              <a:ext uri="{FF2B5EF4-FFF2-40B4-BE49-F238E27FC236}">
                <a16:creationId xmlns:a16="http://schemas.microsoft.com/office/drawing/2014/main" id="{9060DCBF-8D46-EEE0-A699-24482C153640}"/>
              </a:ext>
            </a:extLst>
          </p:cNvPr>
          <p:cNvGrpSpPr/>
          <p:nvPr/>
        </p:nvGrpSpPr>
        <p:grpSpPr>
          <a:xfrm flipH="1">
            <a:off x="7105710" y="256273"/>
            <a:ext cx="1065469" cy="767411"/>
            <a:chOff x="9631490" y="336605"/>
            <a:chExt cx="1065469" cy="767411"/>
          </a:xfrm>
        </p:grpSpPr>
        <p:sp>
          <p:nvSpPr>
            <p:cNvPr id="9" name="Freeform: Shape 81">
              <a:extLst>
                <a:ext uri="{FF2B5EF4-FFF2-40B4-BE49-F238E27FC236}">
                  <a16:creationId xmlns:a16="http://schemas.microsoft.com/office/drawing/2014/main" id="{E597F24C-DE84-9456-E291-F39A7AF82AAB}"/>
                </a:ext>
              </a:extLst>
            </p:cNvPr>
            <p:cNvSpPr/>
            <p:nvPr/>
          </p:nvSpPr>
          <p:spPr>
            <a:xfrm>
              <a:off x="10009632" y="649730"/>
              <a:ext cx="687327" cy="454286"/>
            </a:xfrm>
            <a:custGeom>
              <a:avLst/>
              <a:gdLst>
                <a:gd name="connsiteX0" fmla="*/ 555974 w 856933"/>
                <a:gd name="connsiteY0" fmla="*/ 32858 h 566386"/>
                <a:gd name="connsiteX1" fmla="*/ 7334 w 856933"/>
                <a:gd name="connsiteY1" fmla="*/ 252314 h 566386"/>
                <a:gd name="connsiteX2" fmla="*/ 275558 w 856933"/>
                <a:gd name="connsiteY2" fmla="*/ 557114 h 566386"/>
                <a:gd name="connsiteX3" fmla="*/ 775430 w 856933"/>
                <a:gd name="connsiteY3" fmla="*/ 447386 h 566386"/>
                <a:gd name="connsiteX4" fmla="*/ 836390 w 856933"/>
                <a:gd name="connsiteY4" fmla="*/ 45050 h 566386"/>
                <a:gd name="connsiteX5" fmla="*/ 555974 w 856933"/>
                <a:gd name="connsiteY5" fmla="*/ 32858 h 5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933" h="566386">
                  <a:moveTo>
                    <a:pt x="555974" y="32858"/>
                  </a:moveTo>
                  <a:cubicBezTo>
                    <a:pt x="417798" y="67402"/>
                    <a:pt x="54070" y="164938"/>
                    <a:pt x="7334" y="252314"/>
                  </a:cubicBezTo>
                  <a:cubicBezTo>
                    <a:pt x="-39402" y="339690"/>
                    <a:pt x="147542" y="524602"/>
                    <a:pt x="275558" y="557114"/>
                  </a:cubicBezTo>
                  <a:cubicBezTo>
                    <a:pt x="403574" y="589626"/>
                    <a:pt x="681958" y="532730"/>
                    <a:pt x="775430" y="447386"/>
                  </a:cubicBezTo>
                  <a:cubicBezTo>
                    <a:pt x="868902" y="362042"/>
                    <a:pt x="870934" y="114138"/>
                    <a:pt x="836390" y="45050"/>
                  </a:cubicBezTo>
                  <a:cubicBezTo>
                    <a:pt x="801846" y="-24038"/>
                    <a:pt x="694150" y="-1686"/>
                    <a:pt x="555974" y="3285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0" name="Freeform: Shape 82">
              <a:extLst>
                <a:ext uri="{FF2B5EF4-FFF2-40B4-BE49-F238E27FC236}">
                  <a16:creationId xmlns:a16="http://schemas.microsoft.com/office/drawing/2014/main" id="{99A25384-450F-5DB1-0F6E-B95650833FAA}"/>
                </a:ext>
              </a:extLst>
            </p:cNvPr>
            <p:cNvSpPr/>
            <p:nvPr/>
          </p:nvSpPr>
          <p:spPr>
            <a:xfrm>
              <a:off x="9631490" y="336605"/>
              <a:ext cx="276931" cy="336146"/>
            </a:xfrm>
            <a:custGeom>
              <a:avLst/>
              <a:gdLst>
                <a:gd name="connsiteX0" fmla="*/ 43401 w 276931"/>
                <a:gd name="connsiteY0" fmla="*/ 56920 h 336146"/>
                <a:gd name="connsiteX1" fmla="*/ 6825 w 276931"/>
                <a:gd name="connsiteY1" fmla="*/ 288568 h 336146"/>
                <a:gd name="connsiteX2" fmla="*/ 128745 w 276931"/>
                <a:gd name="connsiteY2" fmla="*/ 312952 h 336146"/>
                <a:gd name="connsiteX3" fmla="*/ 275049 w 276931"/>
                <a:gd name="connsiteY3" fmla="*/ 20344 h 336146"/>
                <a:gd name="connsiteX4" fmla="*/ 43401 w 276931"/>
                <a:gd name="connsiteY4" fmla="*/ 56920 h 336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931" h="336146">
                  <a:moveTo>
                    <a:pt x="43401" y="56920"/>
                  </a:moveTo>
                  <a:cubicBezTo>
                    <a:pt x="-1303" y="101624"/>
                    <a:pt x="-7399" y="245896"/>
                    <a:pt x="6825" y="288568"/>
                  </a:cubicBezTo>
                  <a:cubicBezTo>
                    <a:pt x="21049" y="331240"/>
                    <a:pt x="84041" y="357656"/>
                    <a:pt x="128745" y="312952"/>
                  </a:cubicBezTo>
                  <a:cubicBezTo>
                    <a:pt x="173449" y="268248"/>
                    <a:pt x="293337" y="65048"/>
                    <a:pt x="275049" y="20344"/>
                  </a:cubicBezTo>
                  <a:cubicBezTo>
                    <a:pt x="256761" y="-24360"/>
                    <a:pt x="88105" y="12216"/>
                    <a:pt x="43401" y="56920"/>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457200" algn="ctr" defTabSz="457200" rtl="0" eaLnBrk="1" fontAlgn="auto" latinLnBrk="0" hangingPunct="1">
                <a:lnSpc>
                  <a:spcPct val="90000"/>
                </a:lnSpc>
                <a:spcBef>
                  <a:spcPts val="1000"/>
                </a:spcBef>
                <a:spcAft>
                  <a:spcPts val="0"/>
                </a:spcAft>
                <a:buClrTx/>
                <a:buSzPct val="100000"/>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13" name="Hộp Văn bản 12">
            <a:extLst>
              <a:ext uri="{FF2B5EF4-FFF2-40B4-BE49-F238E27FC236}">
                <a16:creationId xmlns:a16="http://schemas.microsoft.com/office/drawing/2014/main" id="{C90C4CE1-76EE-D47A-7769-8A0C36F464CD}"/>
              </a:ext>
            </a:extLst>
          </p:cNvPr>
          <p:cNvSpPr txBox="1"/>
          <p:nvPr/>
        </p:nvSpPr>
        <p:spPr>
          <a:xfrm>
            <a:off x="957385" y="1023684"/>
            <a:ext cx="10687756" cy="461665"/>
          </a:xfrm>
          <a:prstGeom prst="rect">
            <a:avLst/>
          </a:prstGeom>
          <a:noFill/>
        </p:spPr>
        <p:txBody>
          <a:bodyPr wrap="square" rtlCol="0">
            <a:spAutoFit/>
          </a:bodyPr>
          <a:lstStyle/>
          <a:p>
            <a:r>
              <a:rPr lang="en-US" sz="2400" b="1">
                <a:latin typeface="Arial" panose="020B0604020202020204" pitchFamily="34" charset="0"/>
                <a:cs typeface="Arial" panose="020B0604020202020204" pitchFamily="34" charset="0"/>
              </a:rPr>
              <a:t>Ung thư tá tràng</a:t>
            </a:r>
            <a:endParaRPr lang="vi-VN" sz="2400" b="1">
              <a:latin typeface="Arial" panose="020B0604020202020204" pitchFamily="34" charset="0"/>
              <a:cs typeface="Arial" panose="020B0604020202020204" pitchFamily="34" charset="0"/>
            </a:endParaRPr>
          </a:p>
        </p:txBody>
      </p:sp>
      <p:grpSp>
        <p:nvGrpSpPr>
          <p:cNvPr id="14" name="Group 84">
            <a:extLst>
              <a:ext uri="{FF2B5EF4-FFF2-40B4-BE49-F238E27FC236}">
                <a16:creationId xmlns:a16="http://schemas.microsoft.com/office/drawing/2014/main" id="{15F61C9E-BBE9-15CD-5015-43C38B75B874}"/>
              </a:ext>
            </a:extLst>
          </p:cNvPr>
          <p:cNvGrpSpPr/>
          <p:nvPr/>
        </p:nvGrpSpPr>
        <p:grpSpPr>
          <a:xfrm>
            <a:off x="273758" y="208441"/>
            <a:ext cx="5375703" cy="705454"/>
            <a:chOff x="533402" y="492718"/>
            <a:chExt cx="3520464" cy="705454"/>
          </a:xfrm>
        </p:grpSpPr>
        <p:sp>
          <p:nvSpPr>
            <p:cNvPr id="15" name="TextBox 6">
              <a:extLst>
                <a:ext uri="{FF2B5EF4-FFF2-40B4-BE49-F238E27FC236}">
                  <a16:creationId xmlns:a16="http://schemas.microsoft.com/office/drawing/2014/main" id="{74E867C6-68DF-0BE3-4C3D-D64ECFCD4587}"/>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6" name="TextBox 50">
              <a:extLst>
                <a:ext uri="{FF2B5EF4-FFF2-40B4-BE49-F238E27FC236}">
                  <a16:creationId xmlns:a16="http://schemas.microsoft.com/office/drawing/2014/main" id="{A411A5C6-5B30-DF43-DC03-96B6BA2DBED0}"/>
                </a:ext>
              </a:extLst>
            </p:cNvPr>
            <p:cNvSpPr txBox="1"/>
            <p:nvPr/>
          </p:nvSpPr>
          <p:spPr>
            <a:xfrm>
              <a:off x="610616" y="705729"/>
              <a:ext cx="3443250" cy="492443"/>
            </a:xfrm>
            <a:prstGeom prst="rect">
              <a:avLst/>
            </a:prstGeom>
            <a:noFill/>
          </p:spPr>
          <p:txBody>
            <a:bodyPr wrap="none" lIns="0" tIns="0" rIns="0" bIns="0" rtlCol="0" anchor="ctr">
              <a:spAutoFit/>
            </a:bodyPr>
            <a:lstStyle/>
            <a:p>
              <a:r>
                <a:rPr lang="en-US" sz="3200" b="1">
                  <a:latin typeface="Arial" panose="020B0604020202020204" pitchFamily="34" charset="0"/>
                  <a:ea typeface="Segoe UI Black" panose="020B0A02040204020203" pitchFamily="34" charset="0"/>
                  <a:cs typeface="Arial" panose="020B0604020202020204" pitchFamily="34" charset="0"/>
                </a:rPr>
                <a:t>PHÂN GIAI ĐOẠN</a:t>
              </a:r>
            </a:p>
          </p:txBody>
        </p:sp>
      </p:grpSp>
    </p:spTree>
    <p:extLst>
      <p:ext uri="{BB962C8B-B14F-4D97-AF65-F5344CB8AC3E}">
        <p14:creationId xmlns:p14="http://schemas.microsoft.com/office/powerpoint/2010/main" val="19780845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533402" y="492718"/>
            <a:ext cx="2887976" cy="965827"/>
            <a:chOff x="533402" y="492718"/>
            <a:chExt cx="2887976" cy="96582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6656029" y="429837"/>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2" name="Hộp Văn bản 1">
            <a:extLst>
              <a:ext uri="{FF2B5EF4-FFF2-40B4-BE49-F238E27FC236}">
                <a16:creationId xmlns:a16="http://schemas.microsoft.com/office/drawing/2014/main" id="{181BF466-675B-4C91-E945-C6343C6128B9}"/>
              </a:ext>
            </a:extLst>
          </p:cNvPr>
          <p:cNvSpPr txBox="1"/>
          <p:nvPr/>
        </p:nvSpPr>
        <p:spPr>
          <a:xfrm>
            <a:off x="2108764" y="1818347"/>
            <a:ext cx="7618166" cy="3890489"/>
          </a:xfrm>
          <a:prstGeom prst="rect">
            <a:avLst/>
          </a:prstGeom>
          <a:gradFill flip="none" rotWithShape="0">
            <a:gsLst>
              <a:gs pos="10000">
                <a:schemeClr val="bg1">
                  <a:lumMod val="85000"/>
                  <a:alpha val="13000"/>
                </a:schemeClr>
              </a:gs>
              <a:gs pos="100000">
                <a:schemeClr val="bg1">
                  <a:lumMod val="95000"/>
                  <a:alpha val="50000"/>
                </a:schemeClr>
              </a:gs>
            </a:gsLst>
            <a:lin ang="2700000" scaled="0"/>
            <a:tileRect/>
          </a:gradFill>
        </p:spPr>
        <p:txBody>
          <a:bodyPr wrap="square" rtlCol="0">
            <a:spAutoFit/>
          </a:bodyPr>
          <a:lstStyle/>
          <a:p>
            <a:pPr>
              <a:lnSpc>
                <a:spcPct val="150000"/>
              </a:lnSpc>
            </a:pPr>
            <a:r>
              <a:rPr lang="vi-VN" sz="2800">
                <a:latin typeface="Arial  (Body)"/>
              </a:rPr>
              <a:t>1. </a:t>
            </a:r>
            <a:r>
              <a:rPr lang="vi-VN" sz="2800" u="sng">
                <a:latin typeface="Arial  (Body)"/>
              </a:rPr>
              <a:t>Nguyên tắc điều trị:</a:t>
            </a:r>
            <a:endParaRPr lang="en-US" sz="2800" u="sng">
              <a:latin typeface="Arial  (Body)"/>
            </a:endParaRPr>
          </a:p>
          <a:p>
            <a:pPr marL="285750" indent="-285750">
              <a:lnSpc>
                <a:spcPct val="150000"/>
              </a:lnSpc>
              <a:buFontTx/>
              <a:buChar char="-"/>
            </a:pPr>
            <a:r>
              <a:rPr lang="vi-VN" sz="2800">
                <a:latin typeface="Arial  (Body)"/>
              </a:rPr>
              <a:t>Phẫu thuật cắt khối tá tụy kèm nạo hạch.</a:t>
            </a:r>
          </a:p>
          <a:p>
            <a:pPr marL="285750" indent="-285750">
              <a:lnSpc>
                <a:spcPct val="150000"/>
              </a:lnSpc>
              <a:buFontTx/>
              <a:buChar char="-"/>
            </a:pPr>
            <a:r>
              <a:rPr lang="vi-VN" sz="2800">
                <a:latin typeface="Arial  (Body)"/>
              </a:rPr>
              <a:t>Điều trị đa mô thức kết hợp hóa xạ trị tân bổ trợ, phẫu thuật cắt khối tá tụy, hóa xạ trị hỗ trợ.</a:t>
            </a:r>
          </a:p>
          <a:p>
            <a:pPr marL="285750" indent="-285750">
              <a:lnSpc>
                <a:spcPct val="150000"/>
              </a:lnSpc>
              <a:buFontTx/>
              <a:buChar char="-"/>
            </a:pPr>
            <a:r>
              <a:rPr lang="vi-VN" sz="2800">
                <a:latin typeface="Arial  (Body)"/>
              </a:rPr>
              <a:t>Điều trị giảm nhẹ. </a:t>
            </a:r>
            <a:endParaRPr lang="en-US" sz="2800">
              <a:latin typeface="Arial  (Body)"/>
            </a:endParaRPr>
          </a:p>
        </p:txBody>
      </p:sp>
      <p:grpSp>
        <p:nvGrpSpPr>
          <p:cNvPr id="4" name="Nhóm 3">
            <a:extLst>
              <a:ext uri="{FF2B5EF4-FFF2-40B4-BE49-F238E27FC236}">
                <a16:creationId xmlns:a16="http://schemas.microsoft.com/office/drawing/2014/main" id="{82C04291-E69B-A1E6-2132-8CEE6B8B8E68}"/>
              </a:ext>
            </a:extLst>
          </p:cNvPr>
          <p:cNvGrpSpPr/>
          <p:nvPr/>
        </p:nvGrpSpPr>
        <p:grpSpPr>
          <a:xfrm>
            <a:off x="1559375" y="1818347"/>
            <a:ext cx="278677" cy="3890489"/>
            <a:chOff x="706753" y="1878910"/>
            <a:chExt cx="278677" cy="3890489"/>
          </a:xfrm>
        </p:grpSpPr>
        <p:cxnSp>
          <p:nvCxnSpPr>
            <p:cNvPr id="5" name="Đường nối Thẳng 4">
              <a:extLst>
                <a:ext uri="{FF2B5EF4-FFF2-40B4-BE49-F238E27FC236}">
                  <a16:creationId xmlns:a16="http://schemas.microsoft.com/office/drawing/2014/main" id="{53010CDA-DA38-D9FC-7A11-6D6C678D527C}"/>
                </a:ext>
              </a:extLst>
            </p:cNvPr>
            <p:cNvCxnSpPr>
              <a:cxnSpLocks/>
            </p:cNvCxnSpPr>
            <p:nvPr/>
          </p:nvCxnSpPr>
          <p:spPr>
            <a:xfrm>
              <a:off x="851081" y="1878910"/>
              <a:ext cx="0" cy="3890489"/>
            </a:xfrm>
            <a:prstGeom prst="line">
              <a:avLst/>
            </a:prstGeom>
          </p:spPr>
          <p:style>
            <a:lnRef idx="1">
              <a:schemeClr val="accent2"/>
            </a:lnRef>
            <a:fillRef idx="0">
              <a:schemeClr val="accent2"/>
            </a:fillRef>
            <a:effectRef idx="0">
              <a:schemeClr val="accent2"/>
            </a:effectRef>
            <a:fontRef idx="minor">
              <a:schemeClr val="tx1"/>
            </a:fontRef>
          </p:style>
        </p:cxnSp>
        <p:sp>
          <p:nvSpPr>
            <p:cNvPr id="6" name="TextBox 116">
              <a:extLst>
                <a:ext uri="{FF2B5EF4-FFF2-40B4-BE49-F238E27FC236}">
                  <a16:creationId xmlns:a16="http://schemas.microsoft.com/office/drawing/2014/main" id="{7813F110-99FB-D2F1-F9AB-3DE72570AA2C}"/>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8432049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Nhóm 3">
            <a:extLst>
              <a:ext uri="{FF2B5EF4-FFF2-40B4-BE49-F238E27FC236}">
                <a16:creationId xmlns:a16="http://schemas.microsoft.com/office/drawing/2014/main" id="{82C04291-E69B-A1E6-2132-8CEE6B8B8E68}"/>
              </a:ext>
            </a:extLst>
          </p:cNvPr>
          <p:cNvGrpSpPr/>
          <p:nvPr/>
        </p:nvGrpSpPr>
        <p:grpSpPr>
          <a:xfrm>
            <a:off x="191102" y="951063"/>
            <a:ext cx="278677" cy="3890489"/>
            <a:chOff x="706753" y="1878910"/>
            <a:chExt cx="278677" cy="3890489"/>
          </a:xfrm>
        </p:grpSpPr>
        <p:cxnSp>
          <p:nvCxnSpPr>
            <p:cNvPr id="5" name="Đường nối Thẳng 4">
              <a:extLst>
                <a:ext uri="{FF2B5EF4-FFF2-40B4-BE49-F238E27FC236}">
                  <a16:creationId xmlns:a16="http://schemas.microsoft.com/office/drawing/2014/main" id="{53010CDA-DA38-D9FC-7A11-6D6C678D527C}"/>
                </a:ext>
              </a:extLst>
            </p:cNvPr>
            <p:cNvCxnSpPr>
              <a:cxnSpLocks/>
            </p:cNvCxnSpPr>
            <p:nvPr/>
          </p:nvCxnSpPr>
          <p:spPr>
            <a:xfrm>
              <a:off x="851081" y="1878910"/>
              <a:ext cx="0" cy="3890489"/>
            </a:xfrm>
            <a:prstGeom prst="line">
              <a:avLst/>
            </a:prstGeom>
          </p:spPr>
          <p:style>
            <a:lnRef idx="1">
              <a:schemeClr val="accent2"/>
            </a:lnRef>
            <a:fillRef idx="0">
              <a:schemeClr val="accent2"/>
            </a:fillRef>
            <a:effectRef idx="0">
              <a:schemeClr val="accent2"/>
            </a:effectRef>
            <a:fontRef idx="minor">
              <a:schemeClr val="tx1"/>
            </a:fontRef>
          </p:style>
        </p:cxnSp>
        <p:sp>
          <p:nvSpPr>
            <p:cNvPr id="6" name="TextBox 116">
              <a:extLst>
                <a:ext uri="{FF2B5EF4-FFF2-40B4-BE49-F238E27FC236}">
                  <a16:creationId xmlns:a16="http://schemas.microsoft.com/office/drawing/2014/main" id="{7813F110-99FB-D2F1-F9AB-3DE72570AA2C}"/>
                </a:ext>
              </a:extLst>
            </p:cNvPr>
            <p:cNvSpPr txBox="1"/>
            <p:nvPr/>
          </p:nvSpPr>
          <p:spPr>
            <a:xfrm>
              <a:off x="706753" y="2147705"/>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254725" y="148597"/>
            <a:ext cx="2887976" cy="636477"/>
            <a:chOff x="528412" y="492718"/>
            <a:chExt cx="2887976" cy="63647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28412" y="63675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6656029" y="429837"/>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3" name="TextBox 3">
            <a:extLst>
              <a:ext uri="{FF2B5EF4-FFF2-40B4-BE49-F238E27FC236}">
                <a16:creationId xmlns:a16="http://schemas.microsoft.com/office/drawing/2014/main" id="{46952FCB-E322-3CE4-E6BA-DA206D17AC4F}"/>
              </a:ext>
            </a:extLst>
          </p:cNvPr>
          <p:cNvSpPr txBox="1"/>
          <p:nvPr/>
        </p:nvSpPr>
        <p:spPr>
          <a:xfrm>
            <a:off x="469779" y="1179909"/>
            <a:ext cx="5017969" cy="3970318"/>
          </a:xfrm>
          <a:prstGeom prst="rect">
            <a:avLst/>
          </a:prstGeom>
          <a:solidFill>
            <a:schemeClr val="bg1">
              <a:lumMod val="95000"/>
              <a:alpha val="50000"/>
            </a:schemeClr>
          </a:solidFill>
        </p:spPr>
        <p:txBody>
          <a:bodyPr wrap="square" rtlCol="0">
            <a:spAutoFit/>
          </a:bodyPr>
          <a:lstStyle/>
          <a:p>
            <a:r>
              <a:rPr lang="vi-VN" u="sng"/>
              <a:t>2. Phẫu thuật cắt khối tá tụy:</a:t>
            </a:r>
          </a:p>
          <a:p>
            <a:r>
              <a:rPr lang="vi-VN"/>
              <a:t>	2. 1 Chỉ định phẫu thuật</a:t>
            </a:r>
          </a:p>
          <a:p>
            <a:pPr marL="1200150" lvl="2" indent="-285750">
              <a:buFont typeface="Arial" panose="020B0604020202020204" pitchFamily="34" charset="0"/>
              <a:buChar char="•"/>
            </a:pPr>
            <a:r>
              <a:rPr lang="vi-VN"/>
              <a:t>Giải phẫu bệnh trước mổ là ung thư và còn khả năng cắt được.</a:t>
            </a:r>
          </a:p>
          <a:p>
            <a:pPr marL="1200150" lvl="2" indent="-285750">
              <a:buFont typeface="Arial" panose="020B0604020202020204" pitchFamily="34" charset="0"/>
              <a:buChar char="•"/>
            </a:pPr>
            <a:r>
              <a:rPr lang="vi-VN"/>
              <a:t>Chưa có giải phẫu bệnh trước mổ, hình ảnh học nghi ngờ ung thư.</a:t>
            </a:r>
          </a:p>
          <a:p>
            <a:pPr marL="1200150" lvl="2" indent="-285750">
              <a:buFont typeface="Arial" panose="020B0604020202020204" pitchFamily="34" charset="0"/>
              <a:buChar char="•"/>
            </a:pPr>
            <a:r>
              <a:rPr lang="vi-VN"/>
              <a:t>Hình ảnh học ghi nhận u tân sinh giáp biên.</a:t>
            </a:r>
          </a:p>
          <a:p>
            <a:pPr lvl="1"/>
            <a:r>
              <a:rPr lang="vi-VN"/>
              <a:t>2.2 Chuẩn bị bệnh nhân trước mổ:</a:t>
            </a:r>
          </a:p>
          <a:p>
            <a:pPr marL="1200150" lvl="2" indent="-285750">
              <a:buFont typeface="Arial" panose="020B0604020202020204" pitchFamily="34" charset="0"/>
              <a:buChar char="•"/>
            </a:pPr>
            <a:r>
              <a:rPr lang="vi-VN"/>
              <a:t>Tình trạng dinh dưỡng trước mổ. </a:t>
            </a:r>
          </a:p>
          <a:p>
            <a:pPr marL="1200150" lvl="2" indent="-285750">
              <a:buFont typeface="Arial" panose="020B0604020202020204" pitchFamily="34" charset="0"/>
              <a:buChar char="•"/>
            </a:pPr>
            <a:r>
              <a:rPr lang="vi-VN"/>
              <a:t>Dẫn lưu đường mật trước mổ.</a:t>
            </a:r>
          </a:p>
          <a:p>
            <a:pPr marL="1200150" lvl="2" indent="-285750">
              <a:buFont typeface="Arial" panose="020B0604020202020204" pitchFamily="34" charset="0"/>
              <a:buChar char="•"/>
            </a:pPr>
            <a:r>
              <a:rPr lang="vi-VN"/>
              <a:t>Đánh giá nguy cơ rò tụy: trước mổ, trong và sau mổ. </a:t>
            </a:r>
          </a:p>
          <a:p>
            <a:pPr lvl="1"/>
            <a:r>
              <a:rPr lang="vi-VN"/>
              <a:t>	</a:t>
            </a:r>
          </a:p>
        </p:txBody>
      </p:sp>
      <p:pic>
        <p:nvPicPr>
          <p:cNvPr id="7" name="Picture 2">
            <a:extLst>
              <a:ext uri="{FF2B5EF4-FFF2-40B4-BE49-F238E27FC236}">
                <a16:creationId xmlns:a16="http://schemas.microsoft.com/office/drawing/2014/main" id="{4089A5DE-A446-1D20-13CD-1318B002EE7C}"/>
              </a:ext>
            </a:extLst>
          </p:cNvPr>
          <p:cNvPicPr>
            <a:picLocks noChangeAspect="1"/>
          </p:cNvPicPr>
          <p:nvPr/>
        </p:nvPicPr>
        <p:blipFill>
          <a:blip r:embed="rId3"/>
          <a:stretch>
            <a:fillRect/>
          </a:stretch>
        </p:blipFill>
        <p:spPr>
          <a:xfrm>
            <a:off x="5487750" y="1647765"/>
            <a:ext cx="6571634" cy="3267739"/>
          </a:xfrm>
          <a:prstGeom prst="rect">
            <a:avLst/>
          </a:prstGeom>
        </p:spPr>
      </p:pic>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9" name="Tam giác Cân 8">
            <a:extLst>
              <a:ext uri="{FF2B5EF4-FFF2-40B4-BE49-F238E27FC236}">
                <a16:creationId xmlns:a16="http://schemas.microsoft.com/office/drawing/2014/main" id="{D4CDD98D-1FE0-0DE9-03DB-641A5AD82273}"/>
              </a:ext>
            </a:extLst>
          </p:cNvPr>
          <p:cNvSpPr/>
          <p:nvPr/>
        </p:nvSpPr>
        <p:spPr>
          <a:xfrm rot="5400000">
            <a:off x="334017" y="1538484"/>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0" name="Tam giác Cân 9">
            <a:extLst>
              <a:ext uri="{FF2B5EF4-FFF2-40B4-BE49-F238E27FC236}">
                <a16:creationId xmlns:a16="http://schemas.microsoft.com/office/drawing/2014/main" id="{1BAE5FA7-0C0E-61BB-9AAE-7491135784FC}"/>
              </a:ext>
            </a:extLst>
          </p:cNvPr>
          <p:cNvSpPr/>
          <p:nvPr/>
        </p:nvSpPr>
        <p:spPr>
          <a:xfrm rot="5400000">
            <a:off x="334017" y="3438936"/>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25276824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Nhóm 3">
            <a:extLst>
              <a:ext uri="{FF2B5EF4-FFF2-40B4-BE49-F238E27FC236}">
                <a16:creationId xmlns:a16="http://schemas.microsoft.com/office/drawing/2014/main" id="{82C04291-E69B-A1E6-2132-8CEE6B8B8E68}"/>
              </a:ext>
            </a:extLst>
          </p:cNvPr>
          <p:cNvGrpSpPr/>
          <p:nvPr/>
        </p:nvGrpSpPr>
        <p:grpSpPr>
          <a:xfrm>
            <a:off x="191102" y="951063"/>
            <a:ext cx="278677" cy="3890489"/>
            <a:chOff x="706753" y="1878910"/>
            <a:chExt cx="278677" cy="3890489"/>
          </a:xfrm>
        </p:grpSpPr>
        <p:cxnSp>
          <p:nvCxnSpPr>
            <p:cNvPr id="5" name="Đường nối Thẳng 4">
              <a:extLst>
                <a:ext uri="{FF2B5EF4-FFF2-40B4-BE49-F238E27FC236}">
                  <a16:creationId xmlns:a16="http://schemas.microsoft.com/office/drawing/2014/main" id="{53010CDA-DA38-D9FC-7A11-6D6C678D527C}"/>
                </a:ext>
              </a:extLst>
            </p:cNvPr>
            <p:cNvCxnSpPr>
              <a:cxnSpLocks/>
            </p:cNvCxnSpPr>
            <p:nvPr/>
          </p:nvCxnSpPr>
          <p:spPr>
            <a:xfrm>
              <a:off x="851081" y="1878910"/>
              <a:ext cx="0" cy="3890489"/>
            </a:xfrm>
            <a:prstGeom prst="line">
              <a:avLst/>
            </a:prstGeom>
          </p:spPr>
          <p:style>
            <a:lnRef idx="1">
              <a:schemeClr val="accent2"/>
            </a:lnRef>
            <a:fillRef idx="0">
              <a:schemeClr val="accent2"/>
            </a:fillRef>
            <a:effectRef idx="0">
              <a:schemeClr val="accent2"/>
            </a:effectRef>
            <a:fontRef idx="minor">
              <a:schemeClr val="tx1"/>
            </a:fontRef>
          </p:style>
        </p:cxnSp>
        <p:sp>
          <p:nvSpPr>
            <p:cNvPr id="6" name="TextBox 116">
              <a:extLst>
                <a:ext uri="{FF2B5EF4-FFF2-40B4-BE49-F238E27FC236}">
                  <a16:creationId xmlns:a16="http://schemas.microsoft.com/office/drawing/2014/main" id="{7813F110-99FB-D2F1-F9AB-3DE72570AA2C}"/>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254725" y="148597"/>
            <a:ext cx="2887976" cy="636477"/>
            <a:chOff x="528412" y="492718"/>
            <a:chExt cx="2887976" cy="63647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28412" y="63675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5502954" y="235306"/>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3" name="TextBox 3">
            <a:extLst>
              <a:ext uri="{FF2B5EF4-FFF2-40B4-BE49-F238E27FC236}">
                <a16:creationId xmlns:a16="http://schemas.microsoft.com/office/drawing/2014/main" id="{46952FCB-E322-3CE4-E6BA-DA206D17AC4F}"/>
              </a:ext>
            </a:extLst>
          </p:cNvPr>
          <p:cNvSpPr txBox="1"/>
          <p:nvPr/>
        </p:nvSpPr>
        <p:spPr>
          <a:xfrm>
            <a:off x="469780" y="1179909"/>
            <a:ext cx="3769992" cy="5719514"/>
          </a:xfrm>
          <a:prstGeom prst="rect">
            <a:avLst/>
          </a:prstGeom>
          <a:solidFill>
            <a:schemeClr val="bg1">
              <a:lumMod val="95000"/>
              <a:alpha val="50000"/>
            </a:schemeClr>
          </a:solidFill>
        </p:spPr>
        <p:txBody>
          <a:bodyPr wrap="square" rtlCol="0">
            <a:spAutoFit/>
          </a:bodyPr>
          <a:lstStyle/>
          <a:p>
            <a:pPr>
              <a:spcBef>
                <a:spcPts val="1000"/>
              </a:spcBef>
              <a:buClr>
                <a:schemeClr val="bg2">
                  <a:lumMod val="40000"/>
                  <a:lumOff val="60000"/>
                </a:schemeClr>
              </a:buClr>
              <a:buSzPct val="80000"/>
            </a:pPr>
            <a:r>
              <a:rPr lang="en-US" u="sng" dirty="0">
                <a:latin typeface="Arial   (Body)"/>
                <a:ea typeface="+mj-ea"/>
                <a:cs typeface="+mj-cs"/>
              </a:rPr>
              <a:t>2. </a:t>
            </a:r>
            <a:r>
              <a:rPr lang="en-US" u="sng" dirty="0" err="1">
                <a:latin typeface="Arial   (Body)"/>
                <a:ea typeface="+mj-ea"/>
                <a:cs typeface="+mj-cs"/>
              </a:rPr>
              <a:t>Phẫu</a:t>
            </a:r>
            <a:r>
              <a:rPr lang="en-US" u="sng" dirty="0">
                <a:latin typeface="Arial   (Body)"/>
                <a:ea typeface="+mj-ea"/>
                <a:cs typeface="+mj-cs"/>
              </a:rPr>
              <a:t> </a:t>
            </a:r>
            <a:r>
              <a:rPr lang="en-US" u="sng" dirty="0" err="1">
                <a:latin typeface="Arial   (Body)"/>
                <a:ea typeface="+mj-ea"/>
                <a:cs typeface="+mj-cs"/>
              </a:rPr>
              <a:t>thuật</a:t>
            </a:r>
            <a:r>
              <a:rPr lang="en-US" u="sng" dirty="0">
                <a:latin typeface="Arial   (Body)"/>
                <a:ea typeface="+mj-ea"/>
                <a:cs typeface="+mj-cs"/>
              </a:rPr>
              <a:t> </a:t>
            </a:r>
            <a:r>
              <a:rPr lang="en-US" u="sng" dirty="0" err="1">
                <a:latin typeface="Arial   (Body)"/>
                <a:ea typeface="+mj-ea"/>
                <a:cs typeface="+mj-cs"/>
              </a:rPr>
              <a:t>cắt</a:t>
            </a:r>
            <a:r>
              <a:rPr lang="en-US" u="sng" dirty="0">
                <a:latin typeface="Arial   (Body)"/>
                <a:ea typeface="+mj-ea"/>
                <a:cs typeface="+mj-cs"/>
              </a:rPr>
              <a:t> </a:t>
            </a:r>
            <a:r>
              <a:rPr lang="en-US" u="sng" dirty="0" err="1">
                <a:latin typeface="Arial   (Body)"/>
                <a:ea typeface="+mj-ea"/>
                <a:cs typeface="+mj-cs"/>
              </a:rPr>
              <a:t>khối</a:t>
            </a:r>
            <a:r>
              <a:rPr lang="en-US" u="sng" dirty="0">
                <a:latin typeface="Arial   (Body)"/>
                <a:ea typeface="+mj-ea"/>
                <a:cs typeface="+mj-cs"/>
              </a:rPr>
              <a:t> </a:t>
            </a:r>
            <a:r>
              <a:rPr lang="en-US" u="sng" dirty="0" err="1">
                <a:latin typeface="Arial   (Body)"/>
                <a:ea typeface="+mj-ea"/>
                <a:cs typeface="+mj-cs"/>
              </a:rPr>
              <a:t>tá</a:t>
            </a:r>
            <a:r>
              <a:rPr lang="en-US" u="sng" dirty="0">
                <a:latin typeface="Arial   (Body)"/>
                <a:ea typeface="+mj-ea"/>
                <a:cs typeface="+mj-cs"/>
              </a:rPr>
              <a:t> </a:t>
            </a:r>
            <a:r>
              <a:rPr lang="en-US" u="sng" dirty="0" err="1">
                <a:latin typeface="Arial   (Body)"/>
                <a:ea typeface="+mj-ea"/>
                <a:cs typeface="+mj-cs"/>
              </a:rPr>
              <a:t>tụy</a:t>
            </a:r>
            <a:r>
              <a:rPr lang="en-US" u="sng" dirty="0">
                <a:latin typeface="Arial   (Body)"/>
                <a:ea typeface="+mj-ea"/>
                <a:cs typeface="+mj-cs"/>
              </a:rPr>
              <a:t>:</a:t>
            </a:r>
          </a:p>
          <a:p>
            <a:pPr>
              <a:spcBef>
                <a:spcPts val="1000"/>
              </a:spcBef>
              <a:buClr>
                <a:schemeClr val="bg2">
                  <a:lumMod val="40000"/>
                  <a:lumOff val="60000"/>
                </a:schemeClr>
              </a:buClr>
              <a:buSzPct val="80000"/>
            </a:pPr>
            <a:r>
              <a:rPr lang="vi-VN" dirty="0">
                <a:latin typeface="Arial   (Body)"/>
                <a:ea typeface="+mj-ea"/>
                <a:cs typeface="+mj-cs"/>
              </a:rPr>
              <a:t>	2.3 Phương pháp phẫu thuật:</a:t>
            </a:r>
          </a:p>
          <a:p>
            <a:pPr marL="742950" lvl="1" indent="-285750">
              <a:spcBef>
                <a:spcPts val="1000"/>
              </a:spcBef>
              <a:buClr>
                <a:schemeClr val="bg2">
                  <a:lumMod val="40000"/>
                  <a:lumOff val="60000"/>
                </a:schemeClr>
              </a:buClr>
              <a:buSzPct val="80000"/>
              <a:buFont typeface="Arial" panose="020B0604020202020204" pitchFamily="34" charset="0"/>
              <a:buChar char="•"/>
            </a:pPr>
            <a:r>
              <a:rPr lang="vi-VN" dirty="0">
                <a:latin typeface="Arial   (Body)"/>
                <a:ea typeface="+mj-ea"/>
                <a:cs typeface="+mj-cs"/>
              </a:rPr>
              <a:t>Cắt bỏ phần dưới dạ dày, phần đầu hỗng tràng, cắt túi mật, ông gan chung, phần đầu tuy ngang mức bờ trái tĩnh mạch mạc treo tràng trên. Sau tái lưu thông tiêu hóa bằng nối tụy – hỗng tràng, ống gan chung – hỗng tràng, dạ dày - hỗng tràng. </a:t>
            </a:r>
          </a:p>
          <a:p>
            <a:pPr marL="742950" lvl="1" indent="-285750">
              <a:spcBef>
                <a:spcPts val="1000"/>
              </a:spcBef>
              <a:buClr>
                <a:schemeClr val="bg2">
                  <a:lumMod val="40000"/>
                  <a:lumOff val="60000"/>
                </a:schemeClr>
              </a:buClr>
              <a:buSzPct val="80000"/>
              <a:buFont typeface="Arial" panose="020B0604020202020204" pitchFamily="34" charset="0"/>
              <a:buChar char="•"/>
            </a:pPr>
            <a:r>
              <a:rPr lang="vi-VN" dirty="0">
                <a:latin typeface="Arial   (Body)"/>
                <a:ea typeface="+mj-ea"/>
                <a:cs typeface="+mj-cs"/>
              </a:rPr>
              <a:t>-Mổ mở</a:t>
            </a:r>
          </a:p>
          <a:p>
            <a:pPr marL="742950" lvl="1" indent="-285750">
              <a:spcBef>
                <a:spcPts val="1000"/>
              </a:spcBef>
              <a:buClr>
                <a:schemeClr val="bg2">
                  <a:lumMod val="40000"/>
                  <a:lumOff val="60000"/>
                </a:schemeClr>
              </a:buClr>
              <a:buSzPct val="80000"/>
              <a:buFont typeface="Arial" panose="020B0604020202020204" pitchFamily="34" charset="0"/>
              <a:buChar char="•"/>
            </a:pPr>
            <a:r>
              <a:rPr lang="vi-VN" dirty="0">
                <a:latin typeface="Arial   (Body)"/>
                <a:ea typeface="+mj-ea"/>
                <a:cs typeface="+mj-cs"/>
              </a:rPr>
              <a:t>-Mổ nội soi</a:t>
            </a:r>
          </a:p>
          <a:p>
            <a:pPr marL="742950" lvl="1" indent="-285750">
              <a:spcBef>
                <a:spcPts val="1000"/>
              </a:spcBef>
              <a:buClr>
                <a:schemeClr val="bg2">
                  <a:lumMod val="40000"/>
                  <a:lumOff val="60000"/>
                </a:schemeClr>
              </a:buClr>
              <a:buSzPct val="80000"/>
              <a:buFont typeface="Arial" panose="020B0604020202020204" pitchFamily="34" charset="0"/>
              <a:buChar char="•"/>
            </a:pPr>
            <a:r>
              <a:rPr lang="vi-VN" dirty="0">
                <a:latin typeface="Arial   (Body)"/>
                <a:ea typeface="+mj-ea"/>
                <a:cs typeface="+mj-cs"/>
              </a:rPr>
              <a:t>-Mổ robot</a:t>
            </a:r>
            <a:endParaRPr lang="en-US" dirty="0">
              <a:latin typeface="Arial   (Body)"/>
              <a:ea typeface="+mj-ea"/>
              <a:cs typeface="+mj-cs"/>
            </a:endParaRPr>
          </a:p>
          <a:p>
            <a:pPr lvl="1"/>
            <a:r>
              <a:rPr lang="vi-VN" dirty="0"/>
              <a:t>	</a:t>
            </a:r>
          </a:p>
          <a:p>
            <a:pPr lvl="1"/>
            <a:endParaRPr lang="vi-VN" dirty="0"/>
          </a:p>
          <a:p>
            <a:pPr lvl="1"/>
            <a:endParaRPr lang="vi-VN" dirty="0"/>
          </a:p>
        </p:txBody>
      </p:sp>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9" name="Tam giác Cân 8">
            <a:extLst>
              <a:ext uri="{FF2B5EF4-FFF2-40B4-BE49-F238E27FC236}">
                <a16:creationId xmlns:a16="http://schemas.microsoft.com/office/drawing/2014/main" id="{B2222512-AD37-5472-994F-2CF10A99380B}"/>
              </a:ext>
            </a:extLst>
          </p:cNvPr>
          <p:cNvSpPr/>
          <p:nvPr/>
        </p:nvSpPr>
        <p:spPr>
          <a:xfrm rot="5400000">
            <a:off x="330440" y="1648560"/>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pic>
        <p:nvPicPr>
          <p:cNvPr id="10" name="sub">
            <a:hlinkClick r:id="" action="ppaction://media"/>
            <a:extLst>
              <a:ext uri="{FF2B5EF4-FFF2-40B4-BE49-F238E27FC236}">
                <a16:creationId xmlns:a16="http://schemas.microsoft.com/office/drawing/2014/main" id="{C5F51B12-5200-EBD9-C8DB-A454E30A0BB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468255" y="965351"/>
            <a:ext cx="7666063" cy="5732628"/>
          </a:xfrm>
          <a:prstGeom prst="rect">
            <a:avLst/>
          </a:prstGeom>
        </p:spPr>
      </p:pic>
    </p:spTree>
    <p:extLst>
      <p:ext uri="{BB962C8B-B14F-4D97-AF65-F5344CB8AC3E}">
        <p14:creationId xmlns:p14="http://schemas.microsoft.com/office/powerpoint/2010/main" val="2584289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6852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409224" y="237838"/>
            <a:ext cx="2887976" cy="590655"/>
            <a:chOff x="533402" y="492718"/>
            <a:chExt cx="2887976" cy="590655"/>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590930"/>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6656029" y="429837"/>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7833F102-6B85-C06C-F9BC-02878BCA3002}"/>
              </a:ext>
            </a:extLst>
          </p:cNvPr>
          <p:cNvPicPr>
            <a:picLocks noChangeAspect="1"/>
          </p:cNvPicPr>
          <p:nvPr/>
        </p:nvPicPr>
        <p:blipFill>
          <a:blip r:embed="rId3"/>
          <a:stretch>
            <a:fillRect/>
          </a:stretch>
        </p:blipFill>
        <p:spPr>
          <a:xfrm>
            <a:off x="669070" y="828493"/>
            <a:ext cx="5256259" cy="5557912"/>
          </a:xfrm>
          <a:prstGeom prst="rect">
            <a:avLst/>
          </a:prstGeom>
        </p:spPr>
      </p:pic>
      <p:pic>
        <p:nvPicPr>
          <p:cNvPr id="7" name="Picture 3" descr="Diagram&#10;&#10;Description automatically generated">
            <a:extLst>
              <a:ext uri="{FF2B5EF4-FFF2-40B4-BE49-F238E27FC236}">
                <a16:creationId xmlns:a16="http://schemas.microsoft.com/office/drawing/2014/main" id="{5A80ECEA-000F-81FA-372B-3CFB20146630}"/>
              </a:ext>
            </a:extLst>
          </p:cNvPr>
          <p:cNvPicPr>
            <a:picLocks noChangeAspect="1"/>
          </p:cNvPicPr>
          <p:nvPr/>
        </p:nvPicPr>
        <p:blipFill>
          <a:blip r:embed="rId4"/>
          <a:stretch>
            <a:fillRect/>
          </a:stretch>
        </p:blipFill>
        <p:spPr>
          <a:xfrm>
            <a:off x="5910364" y="2045198"/>
            <a:ext cx="6050315" cy="3875158"/>
          </a:xfrm>
          <a:prstGeom prst="rect">
            <a:avLst/>
          </a:prstGeom>
        </p:spPr>
      </p:pic>
    </p:spTree>
    <p:extLst>
      <p:ext uri="{BB962C8B-B14F-4D97-AF65-F5344CB8AC3E}">
        <p14:creationId xmlns:p14="http://schemas.microsoft.com/office/powerpoint/2010/main" val="42906293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533402" y="492718"/>
            <a:ext cx="2887976" cy="965827"/>
            <a:chOff x="533402" y="492718"/>
            <a:chExt cx="2887976" cy="96582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6656029" y="429837"/>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2" name="Hộp Văn bản 1">
            <a:extLst>
              <a:ext uri="{FF2B5EF4-FFF2-40B4-BE49-F238E27FC236}">
                <a16:creationId xmlns:a16="http://schemas.microsoft.com/office/drawing/2014/main" id="{181BF466-675B-4C91-E945-C6343C6128B9}"/>
              </a:ext>
            </a:extLst>
          </p:cNvPr>
          <p:cNvSpPr txBox="1"/>
          <p:nvPr/>
        </p:nvSpPr>
        <p:spPr>
          <a:xfrm>
            <a:off x="2108764" y="1818347"/>
            <a:ext cx="7520657" cy="3901837"/>
          </a:xfrm>
          <a:prstGeom prst="rect">
            <a:avLst/>
          </a:prstGeom>
          <a:gradFill flip="none" rotWithShape="0">
            <a:gsLst>
              <a:gs pos="10000">
                <a:schemeClr val="bg1">
                  <a:lumMod val="85000"/>
                  <a:alpha val="13000"/>
                </a:schemeClr>
              </a:gs>
              <a:gs pos="100000">
                <a:schemeClr val="bg1">
                  <a:lumMod val="95000"/>
                  <a:alpha val="50000"/>
                </a:schemeClr>
              </a:gs>
            </a:gsLst>
            <a:lin ang="2700000" scaled="0"/>
            <a:tileRect/>
          </a:gradFill>
        </p:spPr>
        <p:txBody>
          <a:bodyPr wrap="square" rtlCol="0">
            <a:spAutoFit/>
          </a:bodyPr>
          <a:lstStyle/>
          <a:p>
            <a:pPr>
              <a:lnSpc>
                <a:spcPct val="150000"/>
              </a:lnSpc>
            </a:pPr>
            <a:r>
              <a:rPr lang="vi-VN" sz="2400">
                <a:latin typeface="Arial" panose="020B0604020202020204" pitchFamily="34" charset="0"/>
                <a:cs typeface="Arial" panose="020B0604020202020204" pitchFamily="34" charset="0"/>
              </a:rPr>
              <a:t>2. Phẫu thuật cắt khối tá tụy:</a:t>
            </a:r>
            <a:r>
              <a:rPr lang="en-US" sz="2400">
                <a:latin typeface="Arial" panose="020B0604020202020204" pitchFamily="34" charset="0"/>
                <a:cs typeface="Arial" panose="020B0604020202020204" pitchFamily="34" charset="0"/>
              </a:rPr>
              <a:t> </a:t>
            </a:r>
            <a:endParaRPr lang="vi-VN" sz="2400">
              <a:latin typeface="Arial" panose="020B0604020202020204" pitchFamily="34" charset="0"/>
              <a:cs typeface="Arial" panose="020B0604020202020204" pitchFamily="34" charset="0"/>
            </a:endParaRPr>
          </a:p>
          <a:p>
            <a:pPr>
              <a:lnSpc>
                <a:spcPct val="150000"/>
              </a:lnSpc>
            </a:pPr>
            <a:r>
              <a:rPr lang="vi-VN" sz="2400">
                <a:latin typeface="Arial" panose="020B0604020202020204" pitchFamily="34" charset="0"/>
                <a:cs typeface="Arial" panose="020B0604020202020204" pitchFamily="34" charset="0"/>
              </a:rPr>
              <a:t>	2.4 </a:t>
            </a:r>
            <a:r>
              <a:rPr lang="en-US" sz="2400">
                <a:latin typeface="Arial" panose="020B0604020202020204" pitchFamily="34" charset="0"/>
                <a:cs typeface="Arial" panose="020B0604020202020204" pitchFamily="34" charset="0"/>
              </a:rPr>
              <a:t>Hóa mô miễn dịch sau mổ</a:t>
            </a:r>
          </a:p>
          <a:p>
            <a:pPr lvl="2">
              <a:lnSpc>
                <a:spcPct val="150000"/>
              </a:lnSpc>
            </a:pPr>
            <a:r>
              <a:rPr lang="en-US" sz="2400">
                <a:latin typeface="Arial" panose="020B0604020202020204" pitchFamily="34" charset="0"/>
                <a:cs typeface="Arial" panose="020B0604020202020204" pitchFamily="34" charset="0"/>
              </a:rPr>
              <a:t>Mục đích: hỗ trợ điều trị hóa trị bổ trợ sau mổ</a:t>
            </a:r>
          </a:p>
          <a:p>
            <a:pPr lvl="2">
              <a:lnSpc>
                <a:spcPct val="150000"/>
              </a:lnSpc>
            </a:pPr>
            <a:r>
              <a:rPr lang="en-US" sz="2400">
                <a:latin typeface="Arial" panose="020B0604020202020204" pitchFamily="34" charset="0"/>
                <a:cs typeface="Arial" panose="020B0604020202020204" pitchFamily="34" charset="0"/>
              </a:rPr>
              <a:t>Các marker:</a:t>
            </a:r>
          </a:p>
          <a:p>
            <a:pPr marL="1200150" lvl="2" indent="-285750">
              <a:lnSpc>
                <a:spcPct val="150000"/>
              </a:lnSpc>
              <a:buFont typeface="Arial" panose="020B0604020202020204" pitchFamily="34" charset="0"/>
              <a:buChar char="•"/>
            </a:pPr>
            <a:r>
              <a:rPr lang="en-US" sz="2400">
                <a:latin typeface="Arial" panose="020B0604020202020204" pitchFamily="34" charset="0"/>
                <a:cs typeface="Arial" panose="020B0604020202020204" pitchFamily="34" charset="0"/>
              </a:rPr>
              <a:t>CK17</a:t>
            </a:r>
            <a:r>
              <a:rPr lang="vi-VN" sz="2400">
                <a:latin typeface="Arial" panose="020B0604020202020204" pitchFamily="34" charset="0"/>
                <a:cs typeface="Arial" panose="020B0604020202020204" pitchFamily="34" charset="0"/>
              </a:rPr>
              <a:t> và MUC1. </a:t>
            </a:r>
            <a:endParaRPr lang="en-US" sz="2400">
              <a:latin typeface="Arial" panose="020B0604020202020204" pitchFamily="34" charset="0"/>
              <a:cs typeface="Arial" panose="020B0604020202020204" pitchFamily="34" charset="0"/>
            </a:endParaRPr>
          </a:p>
          <a:p>
            <a:pPr marL="1200150" lvl="2" indent="-285750">
              <a:lnSpc>
                <a:spcPct val="150000"/>
              </a:lnSpc>
              <a:buFont typeface="Arial" panose="020B0604020202020204" pitchFamily="34" charset="0"/>
              <a:buChar char="•"/>
            </a:pPr>
            <a:r>
              <a:rPr lang="vi-VN" sz="2400">
                <a:latin typeface="Arial" panose="020B0604020202020204" pitchFamily="34" charset="0"/>
                <a:cs typeface="Arial" panose="020B0604020202020204" pitchFamily="34" charset="0"/>
              </a:rPr>
              <a:t>MUC2.</a:t>
            </a:r>
            <a:endParaRPr lang="en-US" sz="2400">
              <a:latin typeface="Arial" panose="020B0604020202020204" pitchFamily="34" charset="0"/>
              <a:cs typeface="Arial" panose="020B0604020202020204" pitchFamily="34" charset="0"/>
            </a:endParaRPr>
          </a:p>
          <a:p>
            <a:pPr marL="1200150" lvl="2" indent="-285750">
              <a:lnSpc>
                <a:spcPct val="150000"/>
              </a:lnSpc>
              <a:buFont typeface="Arial" panose="020B0604020202020204" pitchFamily="34" charset="0"/>
              <a:buChar char="•"/>
            </a:pPr>
            <a:r>
              <a:rPr lang="en-US" sz="2400">
                <a:latin typeface="Arial" panose="020B0604020202020204" pitchFamily="34" charset="0"/>
                <a:cs typeface="Arial" panose="020B0604020202020204" pitchFamily="34" charset="0"/>
              </a:rPr>
              <a:t>CDX2.</a:t>
            </a:r>
          </a:p>
        </p:txBody>
      </p:sp>
      <p:grpSp>
        <p:nvGrpSpPr>
          <p:cNvPr id="4" name="Nhóm 3">
            <a:extLst>
              <a:ext uri="{FF2B5EF4-FFF2-40B4-BE49-F238E27FC236}">
                <a16:creationId xmlns:a16="http://schemas.microsoft.com/office/drawing/2014/main" id="{82C04291-E69B-A1E6-2132-8CEE6B8B8E68}"/>
              </a:ext>
            </a:extLst>
          </p:cNvPr>
          <p:cNvGrpSpPr/>
          <p:nvPr/>
        </p:nvGrpSpPr>
        <p:grpSpPr>
          <a:xfrm>
            <a:off x="1635695" y="1740594"/>
            <a:ext cx="278677" cy="3890489"/>
            <a:chOff x="706753" y="1878910"/>
            <a:chExt cx="278677" cy="3890489"/>
          </a:xfrm>
        </p:grpSpPr>
        <p:cxnSp>
          <p:nvCxnSpPr>
            <p:cNvPr id="5" name="Đường nối Thẳng 4">
              <a:extLst>
                <a:ext uri="{FF2B5EF4-FFF2-40B4-BE49-F238E27FC236}">
                  <a16:creationId xmlns:a16="http://schemas.microsoft.com/office/drawing/2014/main" id="{53010CDA-DA38-D9FC-7A11-6D6C678D527C}"/>
                </a:ext>
              </a:extLst>
            </p:cNvPr>
            <p:cNvCxnSpPr>
              <a:cxnSpLocks/>
            </p:cNvCxnSpPr>
            <p:nvPr/>
          </p:nvCxnSpPr>
          <p:spPr>
            <a:xfrm>
              <a:off x="851081" y="1878910"/>
              <a:ext cx="0" cy="3890489"/>
            </a:xfrm>
            <a:prstGeom prst="line">
              <a:avLst/>
            </a:prstGeom>
          </p:spPr>
          <p:style>
            <a:lnRef idx="1">
              <a:schemeClr val="accent2"/>
            </a:lnRef>
            <a:fillRef idx="0">
              <a:schemeClr val="accent2"/>
            </a:fillRef>
            <a:effectRef idx="0">
              <a:schemeClr val="accent2"/>
            </a:effectRef>
            <a:fontRef idx="minor">
              <a:schemeClr val="tx1"/>
            </a:fontRef>
          </p:style>
        </p:cxnSp>
        <p:sp>
          <p:nvSpPr>
            <p:cNvPr id="6" name="TextBox 116">
              <a:extLst>
                <a:ext uri="{FF2B5EF4-FFF2-40B4-BE49-F238E27FC236}">
                  <a16:creationId xmlns:a16="http://schemas.microsoft.com/office/drawing/2014/main" id="{7813F110-99FB-D2F1-F9AB-3DE72570AA2C}"/>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
        <p:nvSpPr>
          <p:cNvPr id="3" name="Tam giác Cân 2">
            <a:extLst>
              <a:ext uri="{FF2B5EF4-FFF2-40B4-BE49-F238E27FC236}">
                <a16:creationId xmlns:a16="http://schemas.microsoft.com/office/drawing/2014/main" id="{312F46FB-05E2-7C41-63A5-C464107D8AD2}"/>
              </a:ext>
            </a:extLst>
          </p:cNvPr>
          <p:cNvSpPr/>
          <p:nvPr/>
        </p:nvSpPr>
        <p:spPr>
          <a:xfrm rot="5400000">
            <a:off x="1775033" y="2513340"/>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11901775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
            <a:extLst>
              <a:ext uri="{FF2B5EF4-FFF2-40B4-BE49-F238E27FC236}">
                <a16:creationId xmlns:a16="http://schemas.microsoft.com/office/drawing/2014/main" id="{AF7578C2-7525-F73D-AF49-31910363CE5F}"/>
              </a:ext>
            </a:extLst>
          </p:cNvPr>
          <p:cNvSpPr txBox="1"/>
          <p:nvPr/>
        </p:nvSpPr>
        <p:spPr>
          <a:xfrm>
            <a:off x="2270873" y="1703815"/>
            <a:ext cx="9779403" cy="4651979"/>
          </a:xfrm>
          <a:prstGeom prst="rect">
            <a:avLst/>
          </a:prstGeom>
          <a:solidFill>
            <a:schemeClr val="bg1">
              <a:lumMod val="95000"/>
              <a:alpha val="50000"/>
            </a:schemeClr>
          </a:solidFill>
        </p:spPr>
        <p:txBody>
          <a:bodyPr wrap="square" rtlCol="0">
            <a:spAutoFit/>
          </a:bodyPr>
          <a:lstStyle/>
          <a:p>
            <a:pPr>
              <a:lnSpc>
                <a:spcPct val="150000"/>
              </a:lnSpc>
            </a:pPr>
            <a:r>
              <a:rPr lang="vi-VN" sz="2000" u="sng">
                <a:latin typeface="Arial" panose="020B0604020202020204" pitchFamily="34" charset="0"/>
                <a:cs typeface="Arial" panose="020B0604020202020204" pitchFamily="34" charset="0"/>
              </a:rPr>
              <a:t>2. Phẫu thuật cắt khối tá tụy:</a:t>
            </a:r>
          </a:p>
          <a:p>
            <a:pPr>
              <a:lnSpc>
                <a:spcPct val="150000"/>
              </a:lnSpc>
            </a:pPr>
            <a:r>
              <a:rPr lang="vi-VN" sz="2000">
                <a:latin typeface="Arial" panose="020B0604020202020204" pitchFamily="34" charset="0"/>
                <a:cs typeface="Arial" panose="020B0604020202020204" pitchFamily="34" charset="0"/>
              </a:rPr>
              <a:t>	2.5 Biến chứng sau mổ: </a:t>
            </a:r>
          </a:p>
          <a:p>
            <a:pPr marL="1200150" lvl="2" indent="-285750">
              <a:lnSpc>
                <a:spcPct val="150000"/>
              </a:lnSpc>
              <a:buFont typeface="Arial" panose="020B0604020202020204" pitchFamily="34" charset="0"/>
              <a:buChar char="•"/>
            </a:pPr>
            <a:r>
              <a:rPr lang="vi-VN" sz="2000" b="1">
                <a:latin typeface="Arial" panose="020B0604020202020204" pitchFamily="34" charset="0"/>
                <a:cs typeface="Arial" panose="020B0604020202020204" pitchFamily="34" charset="0"/>
              </a:rPr>
              <a:t>Rò tụy</a:t>
            </a:r>
          </a:p>
          <a:p>
            <a:pPr marL="1200150" lvl="2" indent="-285750">
              <a:lnSpc>
                <a:spcPct val="150000"/>
              </a:lnSpc>
              <a:buFont typeface="Arial" panose="020B0604020202020204" pitchFamily="34" charset="0"/>
              <a:buChar char="•"/>
            </a:pPr>
            <a:r>
              <a:rPr lang="vi-VN" sz="2000">
                <a:latin typeface="Arial" panose="020B0604020202020204" pitchFamily="34" charset="0"/>
                <a:cs typeface="Arial" panose="020B0604020202020204" pitchFamily="34" charset="0"/>
              </a:rPr>
              <a:t>Chậm tống xuất dạ dày</a:t>
            </a:r>
          </a:p>
          <a:p>
            <a:pPr marL="1200150" lvl="2" indent="-285750">
              <a:lnSpc>
                <a:spcPct val="150000"/>
              </a:lnSpc>
              <a:buFont typeface="Arial" panose="020B0604020202020204" pitchFamily="34" charset="0"/>
              <a:buChar char="•"/>
            </a:pPr>
            <a:r>
              <a:rPr lang="vi-VN" sz="2000">
                <a:latin typeface="Arial" panose="020B0604020202020204" pitchFamily="34" charset="0"/>
                <a:cs typeface="Arial" panose="020B0604020202020204" pitchFamily="34" charset="0"/>
              </a:rPr>
              <a:t>Chảy máu sau phẫu thuật</a:t>
            </a:r>
          </a:p>
          <a:p>
            <a:pPr marL="1200150" lvl="2" indent="-285750">
              <a:lnSpc>
                <a:spcPct val="150000"/>
              </a:lnSpc>
              <a:buFont typeface="Arial" panose="020B0604020202020204" pitchFamily="34" charset="0"/>
              <a:buChar char="•"/>
            </a:pPr>
            <a:r>
              <a:rPr lang="vi-VN" sz="2000">
                <a:latin typeface="Arial" panose="020B0604020202020204" pitchFamily="34" charset="0"/>
                <a:cs typeface="Arial" panose="020B0604020202020204" pitchFamily="34" charset="0"/>
              </a:rPr>
              <a:t>Áp xe trong ổ bụng</a:t>
            </a:r>
          </a:p>
          <a:p>
            <a:pPr marL="1200150" lvl="2" indent="-285750">
              <a:lnSpc>
                <a:spcPct val="150000"/>
              </a:lnSpc>
              <a:buFont typeface="Arial" panose="020B0604020202020204" pitchFamily="34" charset="0"/>
              <a:buChar char="•"/>
            </a:pPr>
            <a:r>
              <a:rPr lang="vi-VN" sz="2000">
                <a:latin typeface="Arial" panose="020B0604020202020204" pitchFamily="34" charset="0"/>
                <a:cs typeface="Arial" panose="020B0604020202020204" pitchFamily="34" charset="0"/>
              </a:rPr>
              <a:t>Nhiễm khuẩn vết mổ</a:t>
            </a:r>
          </a:p>
          <a:p>
            <a:pPr marL="1200150" lvl="2" indent="-285750">
              <a:lnSpc>
                <a:spcPct val="150000"/>
              </a:lnSpc>
              <a:buFont typeface="Arial" panose="020B0604020202020204" pitchFamily="34" charset="0"/>
              <a:buChar char="•"/>
            </a:pPr>
            <a:r>
              <a:rPr lang="vi-VN" sz="2000">
                <a:latin typeface="Arial" panose="020B0604020202020204" pitchFamily="34" charset="0"/>
                <a:cs typeface="Arial" panose="020B0604020202020204" pitchFamily="34" charset="0"/>
              </a:rPr>
              <a:t>Rò mật</a:t>
            </a:r>
          </a:p>
          <a:p>
            <a:pPr marL="1200150" lvl="2" indent="-285750">
              <a:lnSpc>
                <a:spcPct val="150000"/>
              </a:lnSpc>
              <a:buFont typeface="Arial" panose="020B0604020202020204" pitchFamily="34" charset="0"/>
              <a:buChar char="•"/>
            </a:pPr>
            <a:r>
              <a:rPr lang="vi-VN" sz="2000">
                <a:latin typeface="Arial" panose="020B0604020202020204" pitchFamily="34" charset="0"/>
                <a:cs typeface="Arial" panose="020B0604020202020204" pitchFamily="34" charset="0"/>
              </a:rPr>
              <a:t>Rò dưỡng cấp.</a:t>
            </a:r>
          </a:p>
          <a:p>
            <a:pPr marL="1200150" lvl="2" indent="-285750">
              <a:lnSpc>
                <a:spcPct val="150000"/>
              </a:lnSpc>
              <a:buFont typeface="Arial" panose="020B0604020202020204" pitchFamily="34" charset="0"/>
              <a:buChar char="•"/>
            </a:pPr>
            <a:r>
              <a:rPr lang="vi-VN" sz="2000" b="1">
                <a:latin typeface="Arial" panose="020B0604020202020204" pitchFamily="34" charset="0"/>
                <a:cs typeface="Arial" panose="020B0604020202020204" pitchFamily="34" charset="0"/>
              </a:rPr>
              <a:t>Đái tháo đường sau phẫu thuật</a:t>
            </a:r>
            <a:r>
              <a:rPr lang="vi-VN" sz="2000">
                <a:latin typeface="Arial" panose="020B0604020202020204" pitchFamily="34" charset="0"/>
                <a:cs typeface="Arial" panose="020B0604020202020204" pitchFamily="34" charset="0"/>
              </a:rPr>
              <a:t>.</a:t>
            </a:r>
            <a:endParaRPr lang="en-ID" sz="2000">
              <a:latin typeface="Arial" panose="020B0604020202020204" pitchFamily="34" charset="0"/>
              <a:cs typeface="Arial" panose="020B0604020202020204" pitchFamily="34" charset="0"/>
            </a:endParaRPr>
          </a:p>
        </p:txBody>
      </p:sp>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2" name="Group 7">
            <a:extLst>
              <a:ext uri="{FF2B5EF4-FFF2-40B4-BE49-F238E27FC236}">
                <a16:creationId xmlns:a16="http://schemas.microsoft.com/office/drawing/2014/main" id="{844A8B21-4E0B-F113-5904-3BD3FC761BD2}"/>
              </a:ext>
            </a:extLst>
          </p:cNvPr>
          <p:cNvGrpSpPr/>
          <p:nvPr/>
        </p:nvGrpSpPr>
        <p:grpSpPr>
          <a:xfrm>
            <a:off x="533402" y="492718"/>
            <a:ext cx="2887976" cy="965827"/>
            <a:chOff x="533402" y="492718"/>
            <a:chExt cx="2887976" cy="965827"/>
          </a:xfrm>
        </p:grpSpPr>
        <p:sp>
          <p:nvSpPr>
            <p:cNvPr id="3" name="TextBox 12">
              <a:extLst>
                <a:ext uri="{FF2B5EF4-FFF2-40B4-BE49-F238E27FC236}">
                  <a16:creationId xmlns:a16="http://schemas.microsoft.com/office/drawing/2014/main" id="{A324DD9C-4241-E3B8-B3F3-2A31F83061AE}"/>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32E8F814-0458-829B-8573-4419BAC8D625}"/>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6" name="Nhóm 5">
            <a:extLst>
              <a:ext uri="{FF2B5EF4-FFF2-40B4-BE49-F238E27FC236}">
                <a16:creationId xmlns:a16="http://schemas.microsoft.com/office/drawing/2014/main" id="{39C49E6D-3CE4-A5ED-69F2-6501733A8BB4}"/>
              </a:ext>
            </a:extLst>
          </p:cNvPr>
          <p:cNvGrpSpPr/>
          <p:nvPr/>
        </p:nvGrpSpPr>
        <p:grpSpPr>
          <a:xfrm>
            <a:off x="1787158" y="1544673"/>
            <a:ext cx="278677" cy="5002883"/>
            <a:chOff x="706753" y="1878910"/>
            <a:chExt cx="278677" cy="5002883"/>
          </a:xfrm>
        </p:grpSpPr>
        <p:cxnSp>
          <p:nvCxnSpPr>
            <p:cNvPr id="7" name="Đường nối Thẳng 6">
              <a:extLst>
                <a:ext uri="{FF2B5EF4-FFF2-40B4-BE49-F238E27FC236}">
                  <a16:creationId xmlns:a16="http://schemas.microsoft.com/office/drawing/2014/main" id="{94365525-32F7-49AD-F938-D5D24335C8F5}"/>
                </a:ext>
              </a:extLst>
            </p:cNvPr>
            <p:cNvCxnSpPr>
              <a:cxnSpLocks/>
            </p:cNvCxnSpPr>
            <p:nvPr/>
          </p:nvCxnSpPr>
          <p:spPr>
            <a:xfrm>
              <a:off x="851081" y="1878910"/>
              <a:ext cx="0" cy="5002883"/>
            </a:xfrm>
            <a:prstGeom prst="line">
              <a:avLst/>
            </a:prstGeom>
          </p:spPr>
          <p:style>
            <a:lnRef idx="1">
              <a:schemeClr val="accent2"/>
            </a:lnRef>
            <a:fillRef idx="0">
              <a:schemeClr val="accent2"/>
            </a:fillRef>
            <a:effectRef idx="0">
              <a:schemeClr val="accent2"/>
            </a:effectRef>
            <a:fontRef idx="minor">
              <a:schemeClr val="tx1"/>
            </a:fontRef>
          </p:style>
        </p:cxnSp>
        <p:sp>
          <p:nvSpPr>
            <p:cNvPr id="8" name="TextBox 116">
              <a:extLst>
                <a:ext uri="{FF2B5EF4-FFF2-40B4-BE49-F238E27FC236}">
                  <a16:creationId xmlns:a16="http://schemas.microsoft.com/office/drawing/2014/main" id="{2240C3FA-17DE-7475-DCB8-52213EF52A46}"/>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
        <p:nvSpPr>
          <p:cNvPr id="10" name="Tam giác Cân 9">
            <a:extLst>
              <a:ext uri="{FF2B5EF4-FFF2-40B4-BE49-F238E27FC236}">
                <a16:creationId xmlns:a16="http://schemas.microsoft.com/office/drawing/2014/main" id="{EB57D843-0251-311F-C69C-24E6CE2D38F5}"/>
              </a:ext>
            </a:extLst>
          </p:cNvPr>
          <p:cNvSpPr/>
          <p:nvPr/>
        </p:nvSpPr>
        <p:spPr>
          <a:xfrm rot="5400000">
            <a:off x="1926496" y="2375463"/>
            <a:ext cx="278677" cy="278677"/>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1" name="TextBox 125">
            <a:extLst>
              <a:ext uri="{FF2B5EF4-FFF2-40B4-BE49-F238E27FC236}">
                <a16:creationId xmlns:a16="http://schemas.microsoft.com/office/drawing/2014/main" id="{ED863153-EA6F-AF37-6E4E-42B2447C8187}"/>
              </a:ext>
            </a:extLst>
          </p:cNvPr>
          <p:cNvSpPr txBox="1"/>
          <p:nvPr/>
        </p:nvSpPr>
        <p:spPr>
          <a:xfrm rot="7879834">
            <a:off x="-1695332" y="-106609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Tree>
    <p:extLst>
      <p:ext uri="{BB962C8B-B14F-4D97-AF65-F5344CB8AC3E}">
        <p14:creationId xmlns:p14="http://schemas.microsoft.com/office/powerpoint/2010/main" val="39795025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
            <a:extLst>
              <a:ext uri="{FF2B5EF4-FFF2-40B4-BE49-F238E27FC236}">
                <a16:creationId xmlns:a16="http://schemas.microsoft.com/office/drawing/2014/main" id="{AF7578C2-7525-F73D-AF49-31910363CE5F}"/>
              </a:ext>
            </a:extLst>
          </p:cNvPr>
          <p:cNvSpPr txBox="1"/>
          <p:nvPr/>
        </p:nvSpPr>
        <p:spPr>
          <a:xfrm>
            <a:off x="2270874" y="2292478"/>
            <a:ext cx="9921126" cy="2805320"/>
          </a:xfrm>
          <a:prstGeom prst="rect">
            <a:avLst/>
          </a:prstGeom>
          <a:solidFill>
            <a:schemeClr val="bg1">
              <a:lumMod val="95000"/>
              <a:alpha val="50000"/>
            </a:schemeClr>
          </a:solidFill>
        </p:spPr>
        <p:txBody>
          <a:bodyPr wrap="square" rtlCol="0">
            <a:spAutoFit/>
          </a:bodyPr>
          <a:lstStyle/>
          <a:p>
            <a:pPr>
              <a:lnSpc>
                <a:spcPct val="150000"/>
              </a:lnSpc>
            </a:pPr>
            <a:r>
              <a:rPr lang="vi-VN" sz="2000" u="sng">
                <a:latin typeface="Arial (Body)"/>
              </a:rPr>
              <a:t>3. </a:t>
            </a:r>
            <a:r>
              <a:rPr lang="en-US" sz="2000" u="sng">
                <a:latin typeface="Arial (Body)"/>
              </a:rPr>
              <a:t>Hóa trị tân hỗ trợ:</a:t>
            </a:r>
          </a:p>
          <a:p>
            <a:pPr marL="285750" indent="-285750">
              <a:lnSpc>
                <a:spcPct val="150000"/>
              </a:lnSpc>
              <a:buFontTx/>
              <a:buChar char="-"/>
            </a:pPr>
            <a:r>
              <a:rPr lang="en-US" sz="2000">
                <a:latin typeface="Arial (Body)"/>
              </a:rPr>
              <a:t>FOLFIRINOX hoặc Gemcitabine. </a:t>
            </a:r>
          </a:p>
          <a:p>
            <a:pPr marL="285750" indent="-285750">
              <a:lnSpc>
                <a:spcPct val="150000"/>
              </a:lnSpc>
              <a:buFontTx/>
              <a:buChar char="-"/>
            </a:pPr>
            <a:r>
              <a:rPr lang="en-US" sz="2000">
                <a:latin typeface="Arial (Body)"/>
              </a:rPr>
              <a:t>Xạ trị liều 30G trong 2 tuần.</a:t>
            </a:r>
          </a:p>
          <a:p>
            <a:pPr marL="285750" indent="-285750">
              <a:lnSpc>
                <a:spcPct val="150000"/>
              </a:lnSpc>
              <a:buFontTx/>
              <a:buChar char="-"/>
            </a:pPr>
            <a:r>
              <a:rPr lang="en-US" sz="2000">
                <a:latin typeface="Arial (Body)"/>
              </a:rPr>
              <a:t>Đánh giá lại khả năng cắt u sau 4-6 tuần: CT scan.</a:t>
            </a:r>
          </a:p>
          <a:p>
            <a:pPr marL="285750" indent="-285750">
              <a:lnSpc>
                <a:spcPct val="150000"/>
              </a:lnSpc>
              <a:buFontTx/>
              <a:buChar char="-"/>
            </a:pPr>
            <a:r>
              <a:rPr lang="en-US" sz="2000">
                <a:latin typeface="Arial (Body)"/>
              </a:rPr>
              <a:t>Phẫu thuật cắt khối tá </a:t>
            </a:r>
            <a:r>
              <a:rPr lang="vi-VN" sz="2000">
                <a:latin typeface="Arial (Body)"/>
              </a:rPr>
              <a:t>tụy.</a:t>
            </a:r>
            <a:endParaRPr lang="en-US" sz="2000">
              <a:latin typeface="Arial (Body)"/>
            </a:endParaRPr>
          </a:p>
          <a:p>
            <a:pPr marL="285750" indent="-285750">
              <a:lnSpc>
                <a:spcPct val="150000"/>
              </a:lnSpc>
              <a:buFontTx/>
              <a:buChar char="-"/>
            </a:pPr>
            <a:r>
              <a:rPr lang="en-US" sz="2000">
                <a:latin typeface="Arial (Body)"/>
              </a:rPr>
              <a:t>Hóa xạ bổ trợ sau </a:t>
            </a:r>
            <a:r>
              <a:rPr lang="vi-VN" sz="2000">
                <a:latin typeface="Arial (Body)"/>
              </a:rPr>
              <a:t>mổ.</a:t>
            </a:r>
            <a:endParaRPr lang="en-US" sz="2000">
              <a:latin typeface="Arial (Body)"/>
            </a:endParaRPr>
          </a:p>
        </p:txBody>
      </p:sp>
      <p:sp>
        <p:nvSpPr>
          <p:cNvPr id="24" name="Freeform: Shape 23">
            <a:extLst>
              <a:ext uri="{FF2B5EF4-FFF2-40B4-BE49-F238E27FC236}">
                <a16:creationId xmlns:a16="http://schemas.microsoft.com/office/drawing/2014/main" id="{8528E6BF-039B-40A0-83F3-061F667D2490}"/>
              </a:ext>
            </a:extLst>
          </p:cNvPr>
          <p:cNvSpPr/>
          <p:nvPr/>
        </p:nvSpPr>
        <p:spPr>
          <a:xfrm>
            <a:off x="7160575" y="0"/>
            <a:ext cx="5031426" cy="6858000"/>
          </a:xfrm>
          <a:custGeom>
            <a:avLst/>
            <a:gdLst>
              <a:gd name="connsiteX0" fmla="*/ 634 w 4115097"/>
              <a:gd name="connsiteY0" fmla="*/ 0 h 6858000"/>
              <a:gd name="connsiteX1" fmla="*/ 4115097 w 4115097"/>
              <a:gd name="connsiteY1" fmla="*/ 0 h 6858000"/>
              <a:gd name="connsiteX2" fmla="*/ 4115097 w 4115097"/>
              <a:gd name="connsiteY2" fmla="*/ 6858000 h 6858000"/>
              <a:gd name="connsiteX3" fmla="*/ 4112397 w 4115097"/>
              <a:gd name="connsiteY3" fmla="*/ 6858000 h 6858000"/>
              <a:gd name="connsiteX4" fmla="*/ 4056649 w 4115097"/>
              <a:gd name="connsiteY4" fmla="*/ 6811547 h 6858000"/>
              <a:gd name="connsiteX5" fmla="*/ 3632497 w 4115097"/>
              <a:gd name="connsiteY5" fmla="*/ 6121400 h 6858000"/>
              <a:gd name="connsiteX6" fmla="*/ 3048297 w 4115097"/>
              <a:gd name="connsiteY6" fmla="*/ 2540000 h 6858000"/>
              <a:gd name="connsiteX7" fmla="*/ 2260897 w 4115097"/>
              <a:gd name="connsiteY7" fmla="*/ 1054100 h 6858000"/>
              <a:gd name="connsiteX8" fmla="*/ 686097 w 4115097"/>
              <a:gd name="connsiteY8" fmla="*/ 736600 h 6858000"/>
              <a:gd name="connsiteX9" fmla="*/ 0 w 4115097"/>
              <a:gd name="connsiteY9" fmla="*/ 272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15097" h="6858000">
                <a:moveTo>
                  <a:pt x="634" y="0"/>
                </a:moveTo>
                <a:lnTo>
                  <a:pt x="4115097" y="0"/>
                </a:lnTo>
                <a:lnTo>
                  <a:pt x="4115097" y="6858000"/>
                </a:lnTo>
                <a:lnTo>
                  <a:pt x="4112397" y="6858000"/>
                </a:lnTo>
                <a:lnTo>
                  <a:pt x="4056649" y="6811547"/>
                </a:lnTo>
                <a:cubicBezTo>
                  <a:pt x="3899718" y="6669617"/>
                  <a:pt x="3743622" y="6447367"/>
                  <a:pt x="3632497" y="6121400"/>
                </a:cubicBezTo>
                <a:cubicBezTo>
                  <a:pt x="3378497" y="5376333"/>
                  <a:pt x="3276897" y="3384550"/>
                  <a:pt x="3048297" y="2540000"/>
                </a:cubicBezTo>
                <a:cubicBezTo>
                  <a:pt x="2819697" y="1695450"/>
                  <a:pt x="2654597" y="1354667"/>
                  <a:pt x="2260897" y="1054100"/>
                </a:cubicBezTo>
                <a:cubicBezTo>
                  <a:pt x="1867197" y="753533"/>
                  <a:pt x="1043814" y="948267"/>
                  <a:pt x="686097" y="736600"/>
                </a:cubicBezTo>
                <a:cubicBezTo>
                  <a:pt x="417809" y="577850"/>
                  <a:pt x="25697" y="286941"/>
                  <a:pt x="0" y="27285"/>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20" name="TextBox 19">
            <a:extLst>
              <a:ext uri="{FF2B5EF4-FFF2-40B4-BE49-F238E27FC236}">
                <a16:creationId xmlns:a16="http://schemas.microsoft.com/office/drawing/2014/main" id="{AB16553A-CF11-49FB-ADD4-064B47EAACA3}"/>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Calibri" panose="020F0502020204030204" pitchFamily="34" charset="0"/>
            </a:endParaRPr>
          </a:p>
        </p:txBody>
      </p:sp>
      <p:sp>
        <p:nvSpPr>
          <p:cNvPr id="146" name="Freeform: Shape 145">
            <a:extLst>
              <a:ext uri="{FF2B5EF4-FFF2-40B4-BE49-F238E27FC236}">
                <a16:creationId xmlns:a16="http://schemas.microsoft.com/office/drawing/2014/main" id="{3642E353-5C93-4A27-902A-8ED41A14CBEF}"/>
              </a:ext>
            </a:extLst>
          </p:cNvPr>
          <p:cNvSpPr/>
          <p:nvPr/>
        </p:nvSpPr>
        <p:spPr>
          <a:xfrm>
            <a:off x="539769" y="5891898"/>
            <a:ext cx="783951" cy="737502"/>
          </a:xfrm>
          <a:custGeom>
            <a:avLst/>
            <a:gdLst>
              <a:gd name="connsiteX0" fmla="*/ 274794 w 1057996"/>
              <a:gd name="connsiteY0" fmla="*/ 134143 h 995309"/>
              <a:gd name="connsiteX1" fmla="*/ 17619 w 1057996"/>
              <a:gd name="connsiteY1" fmla="*/ 762793 h 995309"/>
              <a:gd name="connsiteX2" fmla="*/ 741519 w 1057996"/>
              <a:gd name="connsiteY2" fmla="*/ 981868 h 995309"/>
              <a:gd name="connsiteX3" fmla="*/ 1055844 w 1057996"/>
              <a:gd name="connsiteY3" fmla="*/ 419893 h 995309"/>
              <a:gd name="connsiteX4" fmla="*/ 846294 w 1057996"/>
              <a:gd name="connsiteY4" fmla="*/ 19843 h 995309"/>
              <a:gd name="connsiteX5" fmla="*/ 274794 w 1057996"/>
              <a:gd name="connsiteY5" fmla="*/ 134143 h 9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96" h="995309">
                <a:moveTo>
                  <a:pt x="274794" y="134143"/>
                </a:moveTo>
                <a:cubicBezTo>
                  <a:pt x="136681" y="257968"/>
                  <a:pt x="-60168" y="621506"/>
                  <a:pt x="17619" y="762793"/>
                </a:cubicBezTo>
                <a:cubicBezTo>
                  <a:pt x="95406" y="904080"/>
                  <a:pt x="568482" y="1039018"/>
                  <a:pt x="741519" y="981868"/>
                </a:cubicBezTo>
                <a:cubicBezTo>
                  <a:pt x="914557" y="924718"/>
                  <a:pt x="1038382" y="580230"/>
                  <a:pt x="1055844" y="419893"/>
                </a:cubicBezTo>
                <a:cubicBezTo>
                  <a:pt x="1073306" y="259556"/>
                  <a:pt x="982819" y="67468"/>
                  <a:pt x="846294" y="19843"/>
                </a:cubicBezTo>
                <a:cubicBezTo>
                  <a:pt x="709769" y="-27782"/>
                  <a:pt x="412907" y="10318"/>
                  <a:pt x="274794" y="13414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48" name="Freeform: Shape 147">
            <a:extLst>
              <a:ext uri="{FF2B5EF4-FFF2-40B4-BE49-F238E27FC236}">
                <a16:creationId xmlns:a16="http://schemas.microsoft.com/office/drawing/2014/main" id="{7AA87DAD-C80B-4B71-B463-E06118E1AF91}"/>
              </a:ext>
            </a:extLst>
          </p:cNvPr>
          <p:cNvSpPr/>
          <p:nvPr/>
        </p:nvSpPr>
        <p:spPr>
          <a:xfrm>
            <a:off x="1409663" y="5435162"/>
            <a:ext cx="377495" cy="355831"/>
          </a:xfrm>
          <a:custGeom>
            <a:avLst/>
            <a:gdLst>
              <a:gd name="connsiteX0" fmla="*/ 12304 w 377495"/>
              <a:gd name="connsiteY0" fmla="*/ 24873 h 355831"/>
              <a:gd name="connsiteX1" fmla="*/ 73264 w 377495"/>
              <a:gd name="connsiteY1" fmla="*/ 352533 h 355831"/>
              <a:gd name="connsiteX2" fmla="*/ 370444 w 377495"/>
              <a:gd name="connsiteY2" fmla="*/ 184893 h 355831"/>
              <a:gd name="connsiteX3" fmla="*/ 263764 w 377495"/>
              <a:gd name="connsiteY3" fmla="*/ 40113 h 355831"/>
              <a:gd name="connsiteX4" fmla="*/ 12304 w 377495"/>
              <a:gd name="connsiteY4" fmla="*/ 24873 h 35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95" h="355831">
                <a:moveTo>
                  <a:pt x="12304" y="24873"/>
                </a:moveTo>
                <a:cubicBezTo>
                  <a:pt x="-19446" y="76943"/>
                  <a:pt x="13574" y="325863"/>
                  <a:pt x="73264" y="352533"/>
                </a:cubicBezTo>
                <a:cubicBezTo>
                  <a:pt x="132954" y="379203"/>
                  <a:pt x="338694" y="236963"/>
                  <a:pt x="370444" y="184893"/>
                </a:cubicBezTo>
                <a:cubicBezTo>
                  <a:pt x="402194" y="132823"/>
                  <a:pt x="319644" y="65513"/>
                  <a:pt x="263764" y="40113"/>
                </a:cubicBezTo>
                <a:cubicBezTo>
                  <a:pt x="207884" y="14713"/>
                  <a:pt x="44054" y="-27197"/>
                  <a:pt x="12304" y="24873"/>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2" name="Group 7">
            <a:extLst>
              <a:ext uri="{FF2B5EF4-FFF2-40B4-BE49-F238E27FC236}">
                <a16:creationId xmlns:a16="http://schemas.microsoft.com/office/drawing/2014/main" id="{844A8B21-4E0B-F113-5904-3BD3FC761BD2}"/>
              </a:ext>
            </a:extLst>
          </p:cNvPr>
          <p:cNvGrpSpPr/>
          <p:nvPr/>
        </p:nvGrpSpPr>
        <p:grpSpPr>
          <a:xfrm>
            <a:off x="533402" y="492718"/>
            <a:ext cx="2887976" cy="965827"/>
            <a:chOff x="533402" y="492718"/>
            <a:chExt cx="2887976" cy="965827"/>
          </a:xfrm>
        </p:grpSpPr>
        <p:sp>
          <p:nvSpPr>
            <p:cNvPr id="3" name="TextBox 12">
              <a:extLst>
                <a:ext uri="{FF2B5EF4-FFF2-40B4-BE49-F238E27FC236}">
                  <a16:creationId xmlns:a16="http://schemas.microsoft.com/office/drawing/2014/main" id="{A324DD9C-4241-E3B8-B3F3-2A31F83061AE}"/>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4" name="TextBox 13">
              <a:extLst>
                <a:ext uri="{FF2B5EF4-FFF2-40B4-BE49-F238E27FC236}">
                  <a16:creationId xmlns:a16="http://schemas.microsoft.com/office/drawing/2014/main" id="{32E8F814-0458-829B-8573-4419BAC8D625}"/>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6" name="Nhóm 5">
            <a:extLst>
              <a:ext uri="{FF2B5EF4-FFF2-40B4-BE49-F238E27FC236}">
                <a16:creationId xmlns:a16="http://schemas.microsoft.com/office/drawing/2014/main" id="{39C49E6D-3CE4-A5ED-69F2-6501733A8BB4}"/>
              </a:ext>
            </a:extLst>
          </p:cNvPr>
          <p:cNvGrpSpPr/>
          <p:nvPr/>
        </p:nvGrpSpPr>
        <p:grpSpPr>
          <a:xfrm>
            <a:off x="1787158" y="2133336"/>
            <a:ext cx="276032" cy="3083771"/>
            <a:chOff x="706753" y="1878910"/>
            <a:chExt cx="278677" cy="3083771"/>
          </a:xfrm>
        </p:grpSpPr>
        <p:cxnSp>
          <p:nvCxnSpPr>
            <p:cNvPr id="7" name="Đường nối Thẳng 6">
              <a:extLst>
                <a:ext uri="{FF2B5EF4-FFF2-40B4-BE49-F238E27FC236}">
                  <a16:creationId xmlns:a16="http://schemas.microsoft.com/office/drawing/2014/main" id="{94365525-32F7-49AD-F938-D5D24335C8F5}"/>
                </a:ext>
              </a:extLst>
            </p:cNvPr>
            <p:cNvCxnSpPr>
              <a:cxnSpLocks/>
            </p:cNvCxnSpPr>
            <p:nvPr/>
          </p:nvCxnSpPr>
          <p:spPr>
            <a:xfrm>
              <a:off x="851081" y="1878910"/>
              <a:ext cx="0" cy="3083771"/>
            </a:xfrm>
            <a:prstGeom prst="line">
              <a:avLst/>
            </a:prstGeom>
          </p:spPr>
          <p:style>
            <a:lnRef idx="1">
              <a:schemeClr val="accent2"/>
            </a:lnRef>
            <a:fillRef idx="0">
              <a:schemeClr val="accent2"/>
            </a:fillRef>
            <a:effectRef idx="0">
              <a:schemeClr val="accent2"/>
            </a:effectRef>
            <a:fontRef idx="minor">
              <a:schemeClr val="tx1"/>
            </a:fontRef>
          </p:style>
        </p:cxnSp>
        <p:sp>
          <p:nvSpPr>
            <p:cNvPr id="8" name="TextBox 116">
              <a:extLst>
                <a:ext uri="{FF2B5EF4-FFF2-40B4-BE49-F238E27FC236}">
                  <a16:creationId xmlns:a16="http://schemas.microsoft.com/office/drawing/2014/main" id="{2240C3FA-17DE-7475-DCB8-52213EF52A46}"/>
                </a:ext>
              </a:extLst>
            </p:cNvPr>
            <p:cNvSpPr txBox="1"/>
            <p:nvPr/>
          </p:nvSpPr>
          <p:spPr>
            <a:xfrm>
              <a:off x="706753" y="2181572"/>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
        <p:nvSpPr>
          <p:cNvPr id="10" name="TextBox 125">
            <a:extLst>
              <a:ext uri="{FF2B5EF4-FFF2-40B4-BE49-F238E27FC236}">
                <a16:creationId xmlns:a16="http://schemas.microsoft.com/office/drawing/2014/main" id="{73431C45-63BC-8708-1BFE-ED18A82E24C7}"/>
              </a:ext>
            </a:extLst>
          </p:cNvPr>
          <p:cNvSpPr txBox="1"/>
          <p:nvPr/>
        </p:nvSpPr>
        <p:spPr>
          <a:xfrm rot="7879834">
            <a:off x="-1695332" y="-106609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grpSp>
        <p:nvGrpSpPr>
          <p:cNvPr id="11" name="Group 2">
            <a:extLst>
              <a:ext uri="{FF2B5EF4-FFF2-40B4-BE49-F238E27FC236}">
                <a16:creationId xmlns:a16="http://schemas.microsoft.com/office/drawing/2014/main" id="{C3AD557B-F4F3-58B0-D473-064CF45013B2}"/>
              </a:ext>
            </a:extLst>
          </p:cNvPr>
          <p:cNvGrpSpPr/>
          <p:nvPr/>
        </p:nvGrpSpPr>
        <p:grpSpPr>
          <a:xfrm>
            <a:off x="7399936" y="2133336"/>
            <a:ext cx="3228983" cy="4322044"/>
            <a:chOff x="5078827" y="2092875"/>
            <a:chExt cx="2703560" cy="2328024"/>
          </a:xfrm>
        </p:grpSpPr>
        <p:sp>
          <p:nvSpPr>
            <p:cNvPr id="12" name="Google Shape;3544;p75">
              <a:extLst>
                <a:ext uri="{FF2B5EF4-FFF2-40B4-BE49-F238E27FC236}">
                  <a16:creationId xmlns:a16="http://schemas.microsoft.com/office/drawing/2014/main" id="{92712897-2068-43CC-966F-C9CC09E9B1AA}"/>
                </a:ext>
              </a:extLst>
            </p:cNvPr>
            <p:cNvSpPr/>
            <p:nvPr/>
          </p:nvSpPr>
          <p:spPr>
            <a:xfrm>
              <a:off x="5078827" y="2092875"/>
              <a:ext cx="2703560" cy="2328024"/>
            </a:xfrm>
            <a:custGeom>
              <a:avLst/>
              <a:gdLst/>
              <a:ahLst/>
              <a:cxnLst/>
              <a:rect l="l" t="t" r="r" b="b"/>
              <a:pathLst>
                <a:path w="155698" h="154025" extrusionOk="0">
                  <a:moveTo>
                    <a:pt x="93462" y="8032"/>
                  </a:moveTo>
                  <a:cubicBezTo>
                    <a:pt x="101617" y="9636"/>
                    <a:pt x="114584" y="5620"/>
                    <a:pt x="120332" y="9636"/>
                  </a:cubicBezTo>
                  <a:cubicBezTo>
                    <a:pt x="126080" y="13652"/>
                    <a:pt x="123741" y="26515"/>
                    <a:pt x="127952" y="32130"/>
                  </a:cubicBezTo>
                  <a:cubicBezTo>
                    <a:pt x="132163" y="37745"/>
                    <a:pt x="142390" y="37024"/>
                    <a:pt x="145598" y="43325"/>
                  </a:cubicBezTo>
                  <a:cubicBezTo>
                    <a:pt x="148807" y="49626"/>
                    <a:pt x="145545" y="61199"/>
                    <a:pt x="147203" y="69935"/>
                  </a:cubicBezTo>
                  <a:cubicBezTo>
                    <a:pt x="148861" y="78672"/>
                    <a:pt x="156895" y="88050"/>
                    <a:pt x="155545" y="95744"/>
                  </a:cubicBezTo>
                  <a:cubicBezTo>
                    <a:pt x="154195" y="103438"/>
                    <a:pt x="143166" y="109063"/>
                    <a:pt x="139102" y="116101"/>
                  </a:cubicBezTo>
                  <a:cubicBezTo>
                    <a:pt x="135038" y="123139"/>
                    <a:pt x="136763" y="134060"/>
                    <a:pt x="131161" y="137973"/>
                  </a:cubicBezTo>
                  <a:cubicBezTo>
                    <a:pt x="125560" y="141886"/>
                    <a:pt x="115386" y="136903"/>
                    <a:pt x="105493" y="139577"/>
                  </a:cubicBezTo>
                  <a:cubicBezTo>
                    <a:pt x="95600" y="142251"/>
                    <a:pt x="82433" y="154416"/>
                    <a:pt x="71805" y="154015"/>
                  </a:cubicBezTo>
                  <a:cubicBezTo>
                    <a:pt x="61177" y="153614"/>
                    <a:pt x="51886" y="141449"/>
                    <a:pt x="41726" y="137171"/>
                  </a:cubicBezTo>
                  <a:cubicBezTo>
                    <a:pt x="31566" y="132893"/>
                    <a:pt x="15872" y="135980"/>
                    <a:pt x="10845" y="128348"/>
                  </a:cubicBezTo>
                  <a:cubicBezTo>
                    <a:pt x="5819" y="120717"/>
                    <a:pt x="13372" y="102344"/>
                    <a:pt x="11567" y="91382"/>
                  </a:cubicBezTo>
                  <a:cubicBezTo>
                    <a:pt x="9762" y="80420"/>
                    <a:pt x="-465" y="70572"/>
                    <a:pt x="16" y="62575"/>
                  </a:cubicBezTo>
                  <a:cubicBezTo>
                    <a:pt x="497" y="54578"/>
                    <a:pt x="11380" y="51623"/>
                    <a:pt x="14455" y="43398"/>
                  </a:cubicBezTo>
                  <a:cubicBezTo>
                    <a:pt x="17530" y="35173"/>
                    <a:pt x="12650" y="18801"/>
                    <a:pt x="18465" y="13227"/>
                  </a:cubicBezTo>
                  <a:cubicBezTo>
                    <a:pt x="24280" y="7653"/>
                    <a:pt x="40523" y="12159"/>
                    <a:pt x="49346" y="9956"/>
                  </a:cubicBezTo>
                  <a:cubicBezTo>
                    <a:pt x="58169" y="7753"/>
                    <a:pt x="64051" y="332"/>
                    <a:pt x="71404" y="11"/>
                  </a:cubicBezTo>
                  <a:cubicBezTo>
                    <a:pt x="78757" y="-310"/>
                    <a:pt x="85307" y="6428"/>
                    <a:pt x="93462" y="8032"/>
                  </a:cubicBezTo>
                  <a:close/>
                </a:path>
              </a:pathLst>
            </a:custGeom>
            <a:solidFill>
              <a:srgbClr val="5D74FF">
                <a:alpha val="25000"/>
              </a:srgbClr>
            </a:solidFill>
            <a:ln>
              <a:noFill/>
            </a:ln>
          </p:spPr>
        </p:sp>
        <p:grpSp>
          <p:nvGrpSpPr>
            <p:cNvPr id="13" name="Google Shape;3547;p75">
              <a:extLst>
                <a:ext uri="{FF2B5EF4-FFF2-40B4-BE49-F238E27FC236}">
                  <a16:creationId xmlns:a16="http://schemas.microsoft.com/office/drawing/2014/main" id="{373D4344-1A44-F084-0D91-2A54162C0F01}"/>
                </a:ext>
              </a:extLst>
            </p:cNvPr>
            <p:cNvGrpSpPr/>
            <p:nvPr/>
          </p:nvGrpSpPr>
          <p:grpSpPr>
            <a:xfrm>
              <a:off x="6285022" y="2454174"/>
              <a:ext cx="1268143" cy="1605425"/>
              <a:chOff x="5415250" y="2169550"/>
              <a:chExt cx="1643268" cy="2433940"/>
            </a:xfrm>
          </p:grpSpPr>
          <p:sp>
            <p:nvSpPr>
              <p:cNvPr id="38" name="Google Shape;3548;p75">
                <a:extLst>
                  <a:ext uri="{FF2B5EF4-FFF2-40B4-BE49-F238E27FC236}">
                    <a16:creationId xmlns:a16="http://schemas.microsoft.com/office/drawing/2014/main" id="{9502C72C-4284-4D13-20C5-5604C235680D}"/>
                  </a:ext>
                </a:extLst>
              </p:cNvPr>
              <p:cNvSpPr/>
              <p:nvPr/>
            </p:nvSpPr>
            <p:spPr>
              <a:xfrm>
                <a:off x="5415250" y="2169550"/>
                <a:ext cx="659524" cy="401269"/>
              </a:xfrm>
              <a:custGeom>
                <a:avLst/>
                <a:gdLst/>
                <a:ahLst/>
                <a:cxnLst/>
                <a:rect l="l" t="t" r="r" b="b"/>
                <a:pathLst>
                  <a:path w="5889" h="3583" extrusionOk="0">
                    <a:moveTo>
                      <a:pt x="5235" y="211"/>
                    </a:moveTo>
                    <a:cubicBezTo>
                      <a:pt x="5711" y="416"/>
                      <a:pt x="5889" y="800"/>
                      <a:pt x="5664" y="1280"/>
                    </a:cubicBezTo>
                    <a:cubicBezTo>
                      <a:pt x="5418" y="1803"/>
                      <a:pt x="4903" y="2125"/>
                      <a:pt x="4554" y="2345"/>
                    </a:cubicBezTo>
                    <a:cubicBezTo>
                      <a:pt x="3526" y="2998"/>
                      <a:pt x="2518" y="3349"/>
                      <a:pt x="1388" y="3503"/>
                    </a:cubicBezTo>
                    <a:cubicBezTo>
                      <a:pt x="1145" y="3535"/>
                      <a:pt x="907" y="3582"/>
                      <a:pt x="705" y="3526"/>
                    </a:cubicBezTo>
                    <a:cubicBezTo>
                      <a:pt x="472" y="3461"/>
                      <a:pt x="291" y="3279"/>
                      <a:pt x="216" y="3162"/>
                    </a:cubicBezTo>
                    <a:cubicBezTo>
                      <a:pt x="1" y="2839"/>
                      <a:pt x="89" y="2358"/>
                      <a:pt x="453" y="1878"/>
                    </a:cubicBezTo>
                    <a:cubicBezTo>
                      <a:pt x="575" y="1719"/>
                      <a:pt x="772" y="1574"/>
                      <a:pt x="958" y="1434"/>
                    </a:cubicBezTo>
                    <a:cubicBezTo>
                      <a:pt x="1429" y="1074"/>
                      <a:pt x="2046" y="753"/>
                      <a:pt x="2550" y="556"/>
                    </a:cubicBezTo>
                    <a:cubicBezTo>
                      <a:pt x="3261" y="276"/>
                      <a:pt x="4086" y="1"/>
                      <a:pt x="4871" y="108"/>
                    </a:cubicBezTo>
                    <a:cubicBezTo>
                      <a:pt x="4983" y="122"/>
                      <a:pt x="5104" y="155"/>
                      <a:pt x="5235" y="21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549;p75">
                <a:extLst>
                  <a:ext uri="{FF2B5EF4-FFF2-40B4-BE49-F238E27FC236}">
                    <a16:creationId xmlns:a16="http://schemas.microsoft.com/office/drawing/2014/main" id="{223F9090-05D0-9CEE-7804-753348B320D3}"/>
                  </a:ext>
                </a:extLst>
              </p:cNvPr>
              <p:cNvSpPr/>
              <p:nvPr/>
            </p:nvSpPr>
            <p:spPr>
              <a:xfrm>
                <a:off x="5432049" y="2250185"/>
                <a:ext cx="697153" cy="492431"/>
              </a:xfrm>
              <a:custGeom>
                <a:avLst/>
                <a:gdLst/>
                <a:ahLst/>
                <a:cxnLst/>
                <a:rect l="l" t="t" r="r" b="b"/>
                <a:pathLst>
                  <a:path w="6225" h="4397" extrusionOk="0">
                    <a:moveTo>
                      <a:pt x="1" y="2315"/>
                    </a:moveTo>
                    <a:cubicBezTo>
                      <a:pt x="6" y="2334"/>
                      <a:pt x="13" y="2351"/>
                      <a:pt x="21" y="2368"/>
                    </a:cubicBezTo>
                    <a:lnTo>
                      <a:pt x="21" y="2368"/>
                    </a:lnTo>
                    <a:lnTo>
                      <a:pt x="1" y="2315"/>
                    </a:lnTo>
                    <a:close/>
                    <a:moveTo>
                      <a:pt x="5589" y="0"/>
                    </a:moveTo>
                    <a:cubicBezTo>
                      <a:pt x="5632" y="164"/>
                      <a:pt x="5609" y="354"/>
                      <a:pt x="5514" y="560"/>
                    </a:cubicBezTo>
                    <a:cubicBezTo>
                      <a:pt x="5268" y="1083"/>
                      <a:pt x="4753" y="1405"/>
                      <a:pt x="4404" y="1625"/>
                    </a:cubicBezTo>
                    <a:cubicBezTo>
                      <a:pt x="3376" y="2278"/>
                      <a:pt x="2368" y="2629"/>
                      <a:pt x="1238" y="2783"/>
                    </a:cubicBezTo>
                    <a:cubicBezTo>
                      <a:pt x="1077" y="2804"/>
                      <a:pt x="918" y="2832"/>
                      <a:pt x="770" y="2832"/>
                    </a:cubicBezTo>
                    <a:cubicBezTo>
                      <a:pt x="695" y="2832"/>
                      <a:pt x="623" y="2825"/>
                      <a:pt x="555" y="2806"/>
                    </a:cubicBezTo>
                    <a:cubicBezTo>
                      <a:pt x="322" y="2741"/>
                      <a:pt x="141" y="2559"/>
                      <a:pt x="66" y="2442"/>
                    </a:cubicBezTo>
                    <a:cubicBezTo>
                      <a:pt x="49" y="2419"/>
                      <a:pt x="33" y="2395"/>
                      <a:pt x="21" y="2368"/>
                    </a:cubicBezTo>
                    <a:lnTo>
                      <a:pt x="21" y="2368"/>
                    </a:lnTo>
                    <a:lnTo>
                      <a:pt x="561" y="3800"/>
                    </a:lnTo>
                    <a:cubicBezTo>
                      <a:pt x="579" y="3875"/>
                      <a:pt x="611" y="3946"/>
                      <a:pt x="654" y="4006"/>
                    </a:cubicBezTo>
                    <a:cubicBezTo>
                      <a:pt x="729" y="4123"/>
                      <a:pt x="906" y="4305"/>
                      <a:pt x="1144" y="4371"/>
                    </a:cubicBezTo>
                    <a:cubicBezTo>
                      <a:pt x="1211" y="4389"/>
                      <a:pt x="1281" y="4397"/>
                      <a:pt x="1355" y="4397"/>
                    </a:cubicBezTo>
                    <a:cubicBezTo>
                      <a:pt x="1502" y="4397"/>
                      <a:pt x="1661" y="4367"/>
                      <a:pt x="1826" y="4343"/>
                    </a:cubicBezTo>
                    <a:cubicBezTo>
                      <a:pt x="2956" y="4188"/>
                      <a:pt x="3965" y="3838"/>
                      <a:pt x="4988" y="3189"/>
                    </a:cubicBezTo>
                    <a:cubicBezTo>
                      <a:pt x="5337" y="2965"/>
                      <a:pt x="5856" y="2643"/>
                      <a:pt x="6098" y="2119"/>
                    </a:cubicBezTo>
                    <a:cubicBezTo>
                      <a:pt x="6220" y="1867"/>
                      <a:pt x="6225" y="1638"/>
                      <a:pt x="6136" y="1452"/>
                    </a:cubicBezTo>
                    <a:lnTo>
                      <a:pt x="558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3550;p75">
                <a:extLst>
                  <a:ext uri="{FF2B5EF4-FFF2-40B4-BE49-F238E27FC236}">
                    <a16:creationId xmlns:a16="http://schemas.microsoft.com/office/drawing/2014/main" id="{87C38AFB-ADD1-0E8F-3248-DE8E033A5394}"/>
                  </a:ext>
                </a:extLst>
              </p:cNvPr>
              <p:cNvSpPr/>
              <p:nvPr/>
            </p:nvSpPr>
            <p:spPr>
              <a:xfrm>
                <a:off x="6020797" y="2323317"/>
                <a:ext cx="97433" cy="188819"/>
              </a:xfrm>
              <a:custGeom>
                <a:avLst/>
                <a:gdLst/>
                <a:ahLst/>
                <a:cxnLst/>
                <a:rect l="l" t="t" r="r" b="b"/>
                <a:pathLst>
                  <a:path w="870" h="1686" extrusionOk="0">
                    <a:moveTo>
                      <a:pt x="207" y="0"/>
                    </a:moveTo>
                    <a:cubicBezTo>
                      <a:pt x="151" y="104"/>
                      <a:pt x="80" y="201"/>
                      <a:pt x="1" y="295"/>
                    </a:cubicBezTo>
                    <a:cubicBezTo>
                      <a:pt x="11" y="309"/>
                      <a:pt x="20" y="328"/>
                      <a:pt x="29" y="346"/>
                    </a:cubicBezTo>
                    <a:cubicBezTo>
                      <a:pt x="192" y="733"/>
                      <a:pt x="365" y="1084"/>
                      <a:pt x="580" y="1448"/>
                    </a:cubicBezTo>
                    <a:cubicBezTo>
                      <a:pt x="622" y="1518"/>
                      <a:pt x="664" y="1606"/>
                      <a:pt x="716" y="1686"/>
                    </a:cubicBezTo>
                    <a:cubicBezTo>
                      <a:pt x="762" y="1616"/>
                      <a:pt x="809" y="1546"/>
                      <a:pt x="841" y="1466"/>
                    </a:cubicBezTo>
                    <a:cubicBezTo>
                      <a:pt x="856" y="1444"/>
                      <a:pt x="860" y="1420"/>
                      <a:pt x="869" y="1401"/>
                    </a:cubicBezTo>
                    <a:cubicBezTo>
                      <a:pt x="678" y="953"/>
                      <a:pt x="505" y="416"/>
                      <a:pt x="20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3551;p75">
                <a:extLst>
                  <a:ext uri="{FF2B5EF4-FFF2-40B4-BE49-F238E27FC236}">
                    <a16:creationId xmlns:a16="http://schemas.microsoft.com/office/drawing/2014/main" id="{C9951E88-587E-C728-D10A-CFD240A64AD4}"/>
                  </a:ext>
                </a:extLst>
              </p:cNvPr>
              <p:cNvSpPr/>
              <p:nvPr/>
            </p:nvSpPr>
            <p:spPr>
              <a:xfrm>
                <a:off x="5949793" y="2401712"/>
                <a:ext cx="115576" cy="170565"/>
              </a:xfrm>
              <a:custGeom>
                <a:avLst/>
                <a:gdLst/>
                <a:ahLst/>
                <a:cxnLst/>
                <a:rect l="l" t="t" r="r" b="b"/>
                <a:pathLst>
                  <a:path w="1032" h="1523" extrusionOk="0">
                    <a:moveTo>
                      <a:pt x="191" y="1"/>
                    </a:moveTo>
                    <a:cubicBezTo>
                      <a:pt x="126" y="48"/>
                      <a:pt x="61" y="89"/>
                      <a:pt x="0" y="132"/>
                    </a:cubicBezTo>
                    <a:cubicBezTo>
                      <a:pt x="37" y="173"/>
                      <a:pt x="85" y="220"/>
                      <a:pt x="113" y="268"/>
                    </a:cubicBezTo>
                    <a:cubicBezTo>
                      <a:pt x="266" y="510"/>
                      <a:pt x="369" y="809"/>
                      <a:pt x="518" y="1074"/>
                    </a:cubicBezTo>
                    <a:cubicBezTo>
                      <a:pt x="593" y="1206"/>
                      <a:pt x="691" y="1337"/>
                      <a:pt x="785" y="1467"/>
                    </a:cubicBezTo>
                    <a:cubicBezTo>
                      <a:pt x="798" y="1486"/>
                      <a:pt x="813" y="1505"/>
                      <a:pt x="826" y="1523"/>
                    </a:cubicBezTo>
                    <a:cubicBezTo>
                      <a:pt x="897" y="1472"/>
                      <a:pt x="962" y="1416"/>
                      <a:pt x="1031" y="1350"/>
                    </a:cubicBezTo>
                    <a:cubicBezTo>
                      <a:pt x="1027" y="1341"/>
                      <a:pt x="1018" y="1327"/>
                      <a:pt x="1014" y="1318"/>
                    </a:cubicBezTo>
                    <a:cubicBezTo>
                      <a:pt x="807" y="930"/>
                      <a:pt x="514" y="337"/>
                      <a:pt x="19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3552;p75">
                <a:extLst>
                  <a:ext uri="{FF2B5EF4-FFF2-40B4-BE49-F238E27FC236}">
                    <a16:creationId xmlns:a16="http://schemas.microsoft.com/office/drawing/2014/main" id="{460BB18F-759F-CBE5-9E46-8D0374D412C3}"/>
                  </a:ext>
                </a:extLst>
              </p:cNvPr>
              <p:cNvSpPr/>
              <p:nvPr/>
            </p:nvSpPr>
            <p:spPr>
              <a:xfrm>
                <a:off x="5884949" y="2443598"/>
                <a:ext cx="104153" cy="181988"/>
              </a:xfrm>
              <a:custGeom>
                <a:avLst/>
                <a:gdLst/>
                <a:ahLst/>
                <a:cxnLst/>
                <a:rect l="l" t="t" r="r" b="b"/>
                <a:pathLst>
                  <a:path w="930" h="1625" extrusionOk="0">
                    <a:moveTo>
                      <a:pt x="192" y="0"/>
                    </a:moveTo>
                    <a:cubicBezTo>
                      <a:pt x="131" y="38"/>
                      <a:pt x="65" y="80"/>
                      <a:pt x="0" y="112"/>
                    </a:cubicBezTo>
                    <a:cubicBezTo>
                      <a:pt x="5" y="243"/>
                      <a:pt x="108" y="364"/>
                      <a:pt x="159" y="486"/>
                    </a:cubicBezTo>
                    <a:cubicBezTo>
                      <a:pt x="299" y="812"/>
                      <a:pt x="397" y="1126"/>
                      <a:pt x="565" y="1434"/>
                    </a:cubicBezTo>
                    <a:cubicBezTo>
                      <a:pt x="597" y="1490"/>
                      <a:pt x="630" y="1560"/>
                      <a:pt x="672" y="1625"/>
                    </a:cubicBezTo>
                    <a:cubicBezTo>
                      <a:pt x="757" y="1579"/>
                      <a:pt x="841" y="1527"/>
                      <a:pt x="929" y="1471"/>
                    </a:cubicBezTo>
                    <a:cubicBezTo>
                      <a:pt x="910" y="1429"/>
                      <a:pt x="892" y="1387"/>
                      <a:pt x="878" y="1350"/>
                    </a:cubicBezTo>
                    <a:cubicBezTo>
                      <a:pt x="817" y="1200"/>
                      <a:pt x="742" y="1037"/>
                      <a:pt x="677" y="888"/>
                    </a:cubicBezTo>
                    <a:cubicBezTo>
                      <a:pt x="528" y="556"/>
                      <a:pt x="383" y="202"/>
                      <a:pt x="19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3553;p75">
                <a:extLst>
                  <a:ext uri="{FF2B5EF4-FFF2-40B4-BE49-F238E27FC236}">
                    <a16:creationId xmlns:a16="http://schemas.microsoft.com/office/drawing/2014/main" id="{8E41170C-28C9-9FD1-CE23-0C1555B3611E}"/>
                  </a:ext>
                </a:extLst>
              </p:cNvPr>
              <p:cNvSpPr/>
              <p:nvPr/>
            </p:nvSpPr>
            <p:spPr>
              <a:xfrm>
                <a:off x="5797035" y="2489067"/>
                <a:ext cx="106841" cy="178964"/>
              </a:xfrm>
              <a:custGeom>
                <a:avLst/>
                <a:gdLst/>
                <a:ahLst/>
                <a:cxnLst/>
                <a:rect l="l" t="t" r="r" b="b"/>
                <a:pathLst>
                  <a:path w="954" h="1598" extrusionOk="0">
                    <a:moveTo>
                      <a:pt x="216" y="1"/>
                    </a:moveTo>
                    <a:cubicBezTo>
                      <a:pt x="145" y="38"/>
                      <a:pt x="76" y="70"/>
                      <a:pt x="1" y="98"/>
                    </a:cubicBezTo>
                    <a:cubicBezTo>
                      <a:pt x="1" y="210"/>
                      <a:pt x="52" y="328"/>
                      <a:pt x="89" y="426"/>
                    </a:cubicBezTo>
                    <a:cubicBezTo>
                      <a:pt x="220" y="753"/>
                      <a:pt x="369" y="1023"/>
                      <a:pt x="556" y="1318"/>
                    </a:cubicBezTo>
                    <a:cubicBezTo>
                      <a:pt x="608" y="1397"/>
                      <a:pt x="654" y="1523"/>
                      <a:pt x="734" y="1598"/>
                    </a:cubicBezTo>
                    <a:cubicBezTo>
                      <a:pt x="809" y="1565"/>
                      <a:pt x="878" y="1527"/>
                      <a:pt x="953" y="1495"/>
                    </a:cubicBezTo>
                    <a:cubicBezTo>
                      <a:pt x="934" y="1402"/>
                      <a:pt x="869" y="1303"/>
                      <a:pt x="822" y="1210"/>
                    </a:cubicBezTo>
                    <a:cubicBezTo>
                      <a:pt x="692" y="925"/>
                      <a:pt x="580" y="636"/>
                      <a:pt x="444" y="370"/>
                    </a:cubicBezTo>
                    <a:cubicBezTo>
                      <a:pt x="378" y="248"/>
                      <a:pt x="309" y="89"/>
                      <a:pt x="21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3554;p75">
                <a:extLst>
                  <a:ext uri="{FF2B5EF4-FFF2-40B4-BE49-F238E27FC236}">
                    <a16:creationId xmlns:a16="http://schemas.microsoft.com/office/drawing/2014/main" id="{7DDB7A03-5203-9E16-E40B-3C4EB82CA994}"/>
                  </a:ext>
                </a:extLst>
              </p:cNvPr>
              <p:cNvSpPr/>
              <p:nvPr/>
            </p:nvSpPr>
            <p:spPr>
              <a:xfrm>
                <a:off x="5701952" y="2524569"/>
                <a:ext cx="105609" cy="183220"/>
              </a:xfrm>
              <a:custGeom>
                <a:avLst/>
                <a:gdLst/>
                <a:ahLst/>
                <a:cxnLst/>
                <a:rect l="l" t="t" r="r" b="b"/>
                <a:pathLst>
                  <a:path w="943" h="1636" extrusionOk="0">
                    <a:moveTo>
                      <a:pt x="270" y="1"/>
                    </a:moveTo>
                    <a:cubicBezTo>
                      <a:pt x="182" y="29"/>
                      <a:pt x="93" y="57"/>
                      <a:pt x="0" y="85"/>
                    </a:cubicBezTo>
                    <a:cubicBezTo>
                      <a:pt x="23" y="188"/>
                      <a:pt x="65" y="291"/>
                      <a:pt x="84" y="361"/>
                    </a:cubicBezTo>
                    <a:cubicBezTo>
                      <a:pt x="219" y="753"/>
                      <a:pt x="331" y="1042"/>
                      <a:pt x="494" y="1378"/>
                    </a:cubicBezTo>
                    <a:cubicBezTo>
                      <a:pt x="532" y="1462"/>
                      <a:pt x="574" y="1556"/>
                      <a:pt x="625" y="1636"/>
                    </a:cubicBezTo>
                    <a:cubicBezTo>
                      <a:pt x="733" y="1602"/>
                      <a:pt x="835" y="1570"/>
                      <a:pt x="943" y="1533"/>
                    </a:cubicBezTo>
                    <a:cubicBezTo>
                      <a:pt x="915" y="1458"/>
                      <a:pt x="873" y="1378"/>
                      <a:pt x="845" y="1309"/>
                    </a:cubicBezTo>
                    <a:cubicBezTo>
                      <a:pt x="785" y="1145"/>
                      <a:pt x="733" y="968"/>
                      <a:pt x="658" y="809"/>
                    </a:cubicBezTo>
                    <a:cubicBezTo>
                      <a:pt x="537" y="538"/>
                      <a:pt x="425" y="225"/>
                      <a:pt x="27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3555;p75">
                <a:extLst>
                  <a:ext uri="{FF2B5EF4-FFF2-40B4-BE49-F238E27FC236}">
                    <a16:creationId xmlns:a16="http://schemas.microsoft.com/office/drawing/2014/main" id="{6E9FD086-9BCC-141A-4844-AAC89DB859D9}"/>
                  </a:ext>
                </a:extLst>
              </p:cNvPr>
              <p:cNvSpPr/>
              <p:nvPr/>
            </p:nvSpPr>
            <p:spPr>
              <a:xfrm>
                <a:off x="5617174" y="2549767"/>
                <a:ext cx="99897" cy="178404"/>
              </a:xfrm>
              <a:custGeom>
                <a:avLst/>
                <a:gdLst/>
                <a:ahLst/>
                <a:cxnLst/>
                <a:rect l="l" t="t" r="r" b="b"/>
                <a:pathLst>
                  <a:path w="892" h="1593" extrusionOk="0">
                    <a:moveTo>
                      <a:pt x="197" y="0"/>
                    </a:moveTo>
                    <a:cubicBezTo>
                      <a:pt x="131" y="15"/>
                      <a:pt x="70" y="28"/>
                      <a:pt x="5" y="38"/>
                    </a:cubicBezTo>
                    <a:cubicBezTo>
                      <a:pt x="1" y="178"/>
                      <a:pt x="61" y="327"/>
                      <a:pt x="107" y="463"/>
                    </a:cubicBezTo>
                    <a:cubicBezTo>
                      <a:pt x="229" y="795"/>
                      <a:pt x="369" y="1097"/>
                      <a:pt x="533" y="1405"/>
                    </a:cubicBezTo>
                    <a:cubicBezTo>
                      <a:pt x="561" y="1461"/>
                      <a:pt x="589" y="1532"/>
                      <a:pt x="626" y="1593"/>
                    </a:cubicBezTo>
                    <a:cubicBezTo>
                      <a:pt x="715" y="1579"/>
                      <a:pt x="803" y="1560"/>
                      <a:pt x="892" y="1541"/>
                    </a:cubicBezTo>
                    <a:cubicBezTo>
                      <a:pt x="864" y="1467"/>
                      <a:pt x="822" y="1387"/>
                      <a:pt x="794" y="1317"/>
                    </a:cubicBezTo>
                    <a:cubicBezTo>
                      <a:pt x="678" y="1004"/>
                      <a:pt x="566" y="715"/>
                      <a:pt x="421" y="402"/>
                    </a:cubicBezTo>
                    <a:cubicBezTo>
                      <a:pt x="359" y="267"/>
                      <a:pt x="294" y="89"/>
                      <a:pt x="1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3556;p75">
                <a:extLst>
                  <a:ext uri="{FF2B5EF4-FFF2-40B4-BE49-F238E27FC236}">
                    <a16:creationId xmlns:a16="http://schemas.microsoft.com/office/drawing/2014/main" id="{F247DA30-C993-0FC9-76BF-18183E9CF79B}"/>
                  </a:ext>
                </a:extLst>
              </p:cNvPr>
              <p:cNvSpPr/>
              <p:nvPr/>
            </p:nvSpPr>
            <p:spPr>
              <a:xfrm>
                <a:off x="5509884" y="2566566"/>
                <a:ext cx="93290" cy="175940"/>
              </a:xfrm>
              <a:custGeom>
                <a:avLst/>
                <a:gdLst/>
                <a:ahLst/>
                <a:cxnLst/>
                <a:rect l="l" t="t" r="r" b="b"/>
                <a:pathLst>
                  <a:path w="833" h="1571" extrusionOk="0">
                    <a:moveTo>
                      <a:pt x="239" y="0"/>
                    </a:moveTo>
                    <a:cubicBezTo>
                      <a:pt x="180" y="3"/>
                      <a:pt x="123" y="7"/>
                      <a:pt x="68" y="7"/>
                    </a:cubicBezTo>
                    <a:cubicBezTo>
                      <a:pt x="45" y="7"/>
                      <a:pt x="23" y="6"/>
                      <a:pt x="1" y="5"/>
                    </a:cubicBezTo>
                    <a:lnTo>
                      <a:pt x="1" y="5"/>
                    </a:lnTo>
                    <a:cubicBezTo>
                      <a:pt x="15" y="102"/>
                      <a:pt x="90" y="214"/>
                      <a:pt x="123" y="308"/>
                    </a:cubicBezTo>
                    <a:cubicBezTo>
                      <a:pt x="239" y="639"/>
                      <a:pt x="328" y="947"/>
                      <a:pt x="463" y="1270"/>
                    </a:cubicBezTo>
                    <a:cubicBezTo>
                      <a:pt x="505" y="1363"/>
                      <a:pt x="543" y="1480"/>
                      <a:pt x="603" y="1569"/>
                    </a:cubicBezTo>
                    <a:cubicBezTo>
                      <a:pt x="623" y="1570"/>
                      <a:pt x="643" y="1571"/>
                      <a:pt x="663" y="1571"/>
                    </a:cubicBezTo>
                    <a:cubicBezTo>
                      <a:pt x="718" y="1571"/>
                      <a:pt x="773" y="1567"/>
                      <a:pt x="832" y="1559"/>
                    </a:cubicBezTo>
                    <a:cubicBezTo>
                      <a:pt x="828" y="1466"/>
                      <a:pt x="763" y="1354"/>
                      <a:pt x="729" y="1255"/>
                    </a:cubicBezTo>
                    <a:cubicBezTo>
                      <a:pt x="608" y="947"/>
                      <a:pt x="496" y="639"/>
                      <a:pt x="379" y="331"/>
                    </a:cubicBezTo>
                    <a:cubicBezTo>
                      <a:pt x="337" y="224"/>
                      <a:pt x="295" y="98"/>
                      <a:pt x="23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3557;p75">
                <a:extLst>
                  <a:ext uri="{FF2B5EF4-FFF2-40B4-BE49-F238E27FC236}">
                    <a16:creationId xmlns:a16="http://schemas.microsoft.com/office/drawing/2014/main" id="{DEC488AF-CB20-8C9E-B369-79ECE768E0E3}"/>
                  </a:ext>
                </a:extLst>
              </p:cNvPr>
              <p:cNvSpPr/>
              <p:nvPr/>
            </p:nvSpPr>
            <p:spPr>
              <a:xfrm>
                <a:off x="5439329" y="2481227"/>
                <a:ext cx="54988" cy="41549"/>
              </a:xfrm>
              <a:custGeom>
                <a:avLst/>
                <a:gdLst/>
                <a:ahLst/>
                <a:cxnLst/>
                <a:rect l="l" t="t" r="r" b="b"/>
                <a:pathLst>
                  <a:path w="491" h="371" extrusionOk="0">
                    <a:moveTo>
                      <a:pt x="458" y="174"/>
                    </a:moveTo>
                    <a:cubicBezTo>
                      <a:pt x="490" y="370"/>
                      <a:pt x="1" y="220"/>
                      <a:pt x="132" y="75"/>
                    </a:cubicBezTo>
                    <a:cubicBezTo>
                      <a:pt x="201" y="0"/>
                      <a:pt x="388" y="103"/>
                      <a:pt x="458" y="174"/>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3558;p75">
                <a:extLst>
                  <a:ext uri="{FF2B5EF4-FFF2-40B4-BE49-F238E27FC236}">
                    <a16:creationId xmlns:a16="http://schemas.microsoft.com/office/drawing/2014/main" id="{4C3DAC30-3B49-A26D-D55A-FA22E88C2D42}"/>
                  </a:ext>
                </a:extLst>
              </p:cNvPr>
              <p:cNvSpPr/>
              <p:nvPr/>
            </p:nvSpPr>
            <p:spPr>
              <a:xfrm>
                <a:off x="5505740" y="2503738"/>
                <a:ext cx="99561" cy="32590"/>
              </a:xfrm>
              <a:custGeom>
                <a:avLst/>
                <a:gdLst/>
                <a:ahLst/>
                <a:cxnLst/>
                <a:rect l="l" t="t" r="r" b="b"/>
                <a:pathLst>
                  <a:path w="889" h="291" extrusionOk="0">
                    <a:moveTo>
                      <a:pt x="85" y="239"/>
                    </a:moveTo>
                    <a:cubicBezTo>
                      <a:pt x="52" y="211"/>
                      <a:pt x="1" y="141"/>
                      <a:pt x="61" y="79"/>
                    </a:cubicBezTo>
                    <a:cubicBezTo>
                      <a:pt x="136" y="1"/>
                      <a:pt x="351" y="47"/>
                      <a:pt x="440" y="51"/>
                    </a:cubicBezTo>
                    <a:cubicBezTo>
                      <a:pt x="547" y="57"/>
                      <a:pt x="753" y="14"/>
                      <a:pt x="809" y="126"/>
                    </a:cubicBezTo>
                    <a:cubicBezTo>
                      <a:pt x="888" y="281"/>
                      <a:pt x="575" y="290"/>
                      <a:pt x="468" y="290"/>
                    </a:cubicBezTo>
                    <a:cubicBezTo>
                      <a:pt x="407" y="290"/>
                      <a:pt x="351" y="286"/>
                      <a:pt x="304" y="281"/>
                    </a:cubicBezTo>
                    <a:cubicBezTo>
                      <a:pt x="220" y="275"/>
                      <a:pt x="150" y="290"/>
                      <a:pt x="85" y="239"/>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3559;p75">
                <a:extLst>
                  <a:ext uri="{FF2B5EF4-FFF2-40B4-BE49-F238E27FC236}">
                    <a16:creationId xmlns:a16="http://schemas.microsoft.com/office/drawing/2014/main" id="{B33AF0E0-8FA3-51E9-37D2-1707A0351F9A}"/>
                  </a:ext>
                </a:extLst>
              </p:cNvPr>
              <p:cNvSpPr/>
              <p:nvPr/>
            </p:nvSpPr>
            <p:spPr>
              <a:xfrm>
                <a:off x="5873862" y="2203596"/>
                <a:ext cx="82762" cy="49277"/>
              </a:xfrm>
              <a:custGeom>
                <a:avLst/>
                <a:gdLst/>
                <a:ahLst/>
                <a:cxnLst/>
                <a:rect l="l" t="t" r="r" b="b"/>
                <a:pathLst>
                  <a:path w="739" h="440" extrusionOk="0">
                    <a:moveTo>
                      <a:pt x="28" y="89"/>
                    </a:moveTo>
                    <a:cubicBezTo>
                      <a:pt x="151" y="0"/>
                      <a:pt x="739" y="80"/>
                      <a:pt x="701" y="276"/>
                    </a:cubicBezTo>
                    <a:cubicBezTo>
                      <a:pt x="668" y="440"/>
                      <a:pt x="151" y="360"/>
                      <a:pt x="39" y="229"/>
                    </a:cubicBezTo>
                    <a:cubicBezTo>
                      <a:pt x="11" y="196"/>
                      <a:pt x="0" y="164"/>
                      <a:pt x="28" y="89"/>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3560;p75">
                <a:extLst>
                  <a:ext uri="{FF2B5EF4-FFF2-40B4-BE49-F238E27FC236}">
                    <a16:creationId xmlns:a16="http://schemas.microsoft.com/office/drawing/2014/main" id="{CDB88ABF-A849-E037-F583-587917828AD9}"/>
                  </a:ext>
                </a:extLst>
              </p:cNvPr>
              <p:cNvSpPr/>
              <p:nvPr/>
            </p:nvSpPr>
            <p:spPr>
              <a:xfrm>
                <a:off x="5939266" y="2256457"/>
                <a:ext cx="36286" cy="41325"/>
              </a:xfrm>
              <a:custGeom>
                <a:avLst/>
                <a:gdLst/>
                <a:ahLst/>
                <a:cxnLst/>
                <a:rect l="l" t="t" r="r" b="b"/>
                <a:pathLst>
                  <a:path w="324" h="369" extrusionOk="0">
                    <a:moveTo>
                      <a:pt x="24" y="196"/>
                    </a:moveTo>
                    <a:cubicBezTo>
                      <a:pt x="0" y="0"/>
                      <a:pt x="295" y="52"/>
                      <a:pt x="304" y="168"/>
                    </a:cubicBezTo>
                    <a:cubicBezTo>
                      <a:pt x="323" y="326"/>
                      <a:pt x="43" y="369"/>
                      <a:pt x="24" y="196"/>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3561;p75">
                <a:extLst>
                  <a:ext uri="{FF2B5EF4-FFF2-40B4-BE49-F238E27FC236}">
                    <a16:creationId xmlns:a16="http://schemas.microsoft.com/office/drawing/2014/main" id="{C9563058-E0C2-1AEC-04B0-BE8824C1A538}"/>
                  </a:ext>
                </a:extLst>
              </p:cNvPr>
              <p:cNvSpPr/>
              <p:nvPr/>
            </p:nvSpPr>
            <p:spPr>
              <a:xfrm>
                <a:off x="5980591" y="2214459"/>
                <a:ext cx="52412" cy="38413"/>
              </a:xfrm>
              <a:custGeom>
                <a:avLst/>
                <a:gdLst/>
                <a:ahLst/>
                <a:cxnLst/>
                <a:rect l="l" t="t" r="r" b="b"/>
                <a:pathLst>
                  <a:path w="468" h="343" extrusionOk="0">
                    <a:moveTo>
                      <a:pt x="10" y="188"/>
                    </a:moveTo>
                    <a:cubicBezTo>
                      <a:pt x="24" y="1"/>
                      <a:pt x="467" y="80"/>
                      <a:pt x="435" y="248"/>
                    </a:cubicBezTo>
                    <a:cubicBezTo>
                      <a:pt x="420" y="319"/>
                      <a:pt x="370" y="328"/>
                      <a:pt x="276" y="333"/>
                    </a:cubicBezTo>
                    <a:cubicBezTo>
                      <a:pt x="140" y="343"/>
                      <a:pt x="0" y="319"/>
                      <a:pt x="10" y="188"/>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3562;p75">
                <a:extLst>
                  <a:ext uri="{FF2B5EF4-FFF2-40B4-BE49-F238E27FC236}">
                    <a16:creationId xmlns:a16="http://schemas.microsoft.com/office/drawing/2014/main" id="{3663F291-5F53-4BDE-A6B5-F518B2A4DCC9}"/>
                  </a:ext>
                </a:extLst>
              </p:cNvPr>
              <p:cNvSpPr/>
              <p:nvPr/>
            </p:nvSpPr>
            <p:spPr>
              <a:xfrm>
                <a:off x="5845080" y="3181969"/>
                <a:ext cx="1213439" cy="1421521"/>
              </a:xfrm>
              <a:custGeom>
                <a:avLst/>
                <a:gdLst/>
                <a:ahLst/>
                <a:cxnLst/>
                <a:rect l="l" t="t" r="r" b="b"/>
                <a:pathLst>
                  <a:path w="10835" h="12693" extrusionOk="0">
                    <a:moveTo>
                      <a:pt x="4619" y="1"/>
                    </a:moveTo>
                    <a:cubicBezTo>
                      <a:pt x="4806" y="295"/>
                      <a:pt x="4923" y="566"/>
                      <a:pt x="5212" y="701"/>
                    </a:cubicBezTo>
                    <a:cubicBezTo>
                      <a:pt x="5609" y="893"/>
                      <a:pt x="6291" y="766"/>
                      <a:pt x="6664" y="971"/>
                    </a:cubicBezTo>
                    <a:cubicBezTo>
                      <a:pt x="6936" y="1126"/>
                      <a:pt x="7141" y="1523"/>
                      <a:pt x="7332" y="1855"/>
                    </a:cubicBezTo>
                    <a:cubicBezTo>
                      <a:pt x="7537" y="2195"/>
                      <a:pt x="7724" y="2531"/>
                      <a:pt x="7893" y="2840"/>
                    </a:cubicBezTo>
                    <a:cubicBezTo>
                      <a:pt x="8261" y="3531"/>
                      <a:pt x="8645" y="4199"/>
                      <a:pt x="9009" y="4820"/>
                    </a:cubicBezTo>
                    <a:cubicBezTo>
                      <a:pt x="9214" y="5169"/>
                      <a:pt x="9363" y="5520"/>
                      <a:pt x="9522" y="5861"/>
                    </a:cubicBezTo>
                    <a:cubicBezTo>
                      <a:pt x="9854" y="6557"/>
                      <a:pt x="10138" y="7247"/>
                      <a:pt x="10447" y="8032"/>
                    </a:cubicBezTo>
                    <a:cubicBezTo>
                      <a:pt x="10596" y="8415"/>
                      <a:pt x="10834" y="9050"/>
                      <a:pt x="10671" y="9499"/>
                    </a:cubicBezTo>
                    <a:cubicBezTo>
                      <a:pt x="10498" y="9965"/>
                      <a:pt x="9873" y="10268"/>
                      <a:pt x="9391" y="10507"/>
                    </a:cubicBezTo>
                    <a:cubicBezTo>
                      <a:pt x="8056" y="11165"/>
                      <a:pt x="6897" y="11740"/>
                      <a:pt x="5516" y="12342"/>
                    </a:cubicBezTo>
                    <a:cubicBezTo>
                      <a:pt x="5151" y="12501"/>
                      <a:pt x="4690" y="12692"/>
                      <a:pt x="4255" y="12514"/>
                    </a:cubicBezTo>
                    <a:cubicBezTo>
                      <a:pt x="4087" y="12449"/>
                      <a:pt x="3849" y="12230"/>
                      <a:pt x="3709" y="12053"/>
                    </a:cubicBezTo>
                    <a:cubicBezTo>
                      <a:pt x="3507" y="11800"/>
                      <a:pt x="3354" y="11469"/>
                      <a:pt x="3181" y="11160"/>
                    </a:cubicBezTo>
                    <a:cubicBezTo>
                      <a:pt x="2522" y="9951"/>
                      <a:pt x="1916" y="8700"/>
                      <a:pt x="1234" y="7425"/>
                    </a:cubicBezTo>
                    <a:cubicBezTo>
                      <a:pt x="907" y="6804"/>
                      <a:pt x="627" y="6178"/>
                      <a:pt x="324" y="5492"/>
                    </a:cubicBezTo>
                    <a:cubicBezTo>
                      <a:pt x="155" y="5104"/>
                      <a:pt x="1" y="4698"/>
                      <a:pt x="85" y="4264"/>
                    </a:cubicBezTo>
                    <a:cubicBezTo>
                      <a:pt x="145" y="3960"/>
                      <a:pt x="337" y="3699"/>
                      <a:pt x="501" y="3465"/>
                    </a:cubicBezTo>
                    <a:cubicBezTo>
                      <a:pt x="660" y="3236"/>
                      <a:pt x="884" y="2966"/>
                      <a:pt x="902" y="2648"/>
                    </a:cubicBezTo>
                    <a:cubicBezTo>
                      <a:pt x="916" y="2344"/>
                      <a:pt x="785" y="2130"/>
                      <a:pt x="706" y="1883"/>
                    </a:cubicBezTo>
                    <a:cubicBezTo>
                      <a:pt x="1645" y="1392"/>
                      <a:pt x="2625" y="943"/>
                      <a:pt x="3597" y="463"/>
                    </a:cubicBezTo>
                    <a:cubicBezTo>
                      <a:pt x="3933" y="299"/>
                      <a:pt x="4302" y="109"/>
                      <a:pt x="461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3563;p75">
                <a:extLst>
                  <a:ext uri="{FF2B5EF4-FFF2-40B4-BE49-F238E27FC236}">
                    <a16:creationId xmlns:a16="http://schemas.microsoft.com/office/drawing/2014/main" id="{66B4BC60-68A9-6761-7C90-1046AD663367}"/>
                  </a:ext>
                </a:extLst>
              </p:cNvPr>
              <p:cNvSpPr/>
              <p:nvPr/>
            </p:nvSpPr>
            <p:spPr>
              <a:xfrm>
                <a:off x="5876438" y="3577306"/>
                <a:ext cx="791339" cy="862566"/>
              </a:xfrm>
              <a:custGeom>
                <a:avLst/>
                <a:gdLst/>
                <a:ahLst/>
                <a:cxnLst/>
                <a:rect l="l" t="t" r="r" b="b"/>
                <a:pathLst>
                  <a:path w="7066" h="7702" extrusionOk="0">
                    <a:moveTo>
                      <a:pt x="4262" y="1"/>
                    </a:moveTo>
                    <a:cubicBezTo>
                      <a:pt x="4256" y="1"/>
                      <a:pt x="4251" y="1"/>
                      <a:pt x="4246" y="1"/>
                    </a:cubicBezTo>
                    <a:cubicBezTo>
                      <a:pt x="3788" y="6"/>
                      <a:pt x="3359" y="253"/>
                      <a:pt x="2985" y="398"/>
                    </a:cubicBezTo>
                    <a:cubicBezTo>
                      <a:pt x="2589" y="551"/>
                      <a:pt x="2201" y="706"/>
                      <a:pt x="1804" y="893"/>
                    </a:cubicBezTo>
                    <a:cubicBezTo>
                      <a:pt x="1272" y="1135"/>
                      <a:pt x="645" y="1420"/>
                      <a:pt x="156" y="1756"/>
                    </a:cubicBezTo>
                    <a:cubicBezTo>
                      <a:pt x="109" y="1784"/>
                      <a:pt x="57" y="1822"/>
                      <a:pt x="1" y="1859"/>
                    </a:cubicBezTo>
                    <a:cubicBezTo>
                      <a:pt x="16" y="1896"/>
                      <a:pt x="29" y="1930"/>
                      <a:pt x="44" y="1962"/>
                    </a:cubicBezTo>
                    <a:cubicBezTo>
                      <a:pt x="347" y="2648"/>
                      <a:pt x="627" y="3274"/>
                      <a:pt x="954" y="3895"/>
                    </a:cubicBezTo>
                    <a:cubicBezTo>
                      <a:pt x="1636" y="5170"/>
                      <a:pt x="2242" y="6421"/>
                      <a:pt x="2901" y="7630"/>
                    </a:cubicBezTo>
                    <a:cubicBezTo>
                      <a:pt x="2915" y="7654"/>
                      <a:pt x="2929" y="7678"/>
                      <a:pt x="2943" y="7701"/>
                    </a:cubicBezTo>
                    <a:cubicBezTo>
                      <a:pt x="3485" y="7439"/>
                      <a:pt x="4063" y="7122"/>
                      <a:pt x="4550" y="6893"/>
                    </a:cubicBezTo>
                    <a:cubicBezTo>
                      <a:pt x="4936" y="6710"/>
                      <a:pt x="5301" y="6566"/>
                      <a:pt x="5679" y="6384"/>
                    </a:cubicBezTo>
                    <a:cubicBezTo>
                      <a:pt x="6048" y="6211"/>
                      <a:pt x="6440" y="6014"/>
                      <a:pt x="6701" y="5744"/>
                    </a:cubicBezTo>
                    <a:cubicBezTo>
                      <a:pt x="6786" y="5660"/>
                      <a:pt x="6908" y="5492"/>
                      <a:pt x="6940" y="5394"/>
                    </a:cubicBezTo>
                    <a:cubicBezTo>
                      <a:pt x="7066" y="5068"/>
                      <a:pt x="6940" y="4670"/>
                      <a:pt x="6833" y="4357"/>
                    </a:cubicBezTo>
                    <a:cubicBezTo>
                      <a:pt x="6749" y="4119"/>
                      <a:pt x="6641" y="3885"/>
                      <a:pt x="6557" y="3685"/>
                    </a:cubicBezTo>
                    <a:cubicBezTo>
                      <a:pt x="6160" y="2742"/>
                      <a:pt x="5815" y="2014"/>
                      <a:pt x="5408" y="1098"/>
                    </a:cubicBezTo>
                    <a:cubicBezTo>
                      <a:pt x="5196" y="617"/>
                      <a:pt x="4895" y="1"/>
                      <a:pt x="426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3564;p75">
                <a:extLst>
                  <a:ext uri="{FF2B5EF4-FFF2-40B4-BE49-F238E27FC236}">
                    <a16:creationId xmlns:a16="http://schemas.microsoft.com/office/drawing/2014/main" id="{6A629EFF-9176-EA6A-85DF-1D1E28D5A9FC}"/>
                  </a:ext>
                </a:extLst>
              </p:cNvPr>
              <p:cNvSpPr/>
              <p:nvPr/>
            </p:nvSpPr>
            <p:spPr>
              <a:xfrm>
                <a:off x="6020349" y="3759855"/>
                <a:ext cx="333178" cy="318507"/>
              </a:xfrm>
              <a:custGeom>
                <a:avLst/>
                <a:gdLst/>
                <a:ahLst/>
                <a:cxnLst/>
                <a:rect l="l" t="t" r="r" b="b"/>
                <a:pathLst>
                  <a:path w="2975" h="2844" extrusionOk="0">
                    <a:moveTo>
                      <a:pt x="1640" y="608"/>
                    </a:moveTo>
                    <a:cubicBezTo>
                      <a:pt x="1840" y="556"/>
                      <a:pt x="2181" y="346"/>
                      <a:pt x="2485" y="328"/>
                    </a:cubicBezTo>
                    <a:cubicBezTo>
                      <a:pt x="2704" y="313"/>
                      <a:pt x="2975" y="962"/>
                      <a:pt x="2929" y="1261"/>
                    </a:cubicBezTo>
                    <a:cubicBezTo>
                      <a:pt x="2901" y="1425"/>
                      <a:pt x="2414" y="1574"/>
                      <a:pt x="2177" y="1742"/>
                    </a:cubicBezTo>
                    <a:cubicBezTo>
                      <a:pt x="2265" y="1966"/>
                      <a:pt x="2513" y="2358"/>
                      <a:pt x="2391" y="2470"/>
                    </a:cubicBezTo>
                    <a:cubicBezTo>
                      <a:pt x="2214" y="2630"/>
                      <a:pt x="1873" y="2788"/>
                      <a:pt x="1718" y="2816"/>
                    </a:cubicBezTo>
                    <a:cubicBezTo>
                      <a:pt x="1565" y="2844"/>
                      <a:pt x="1378" y="2367"/>
                      <a:pt x="1220" y="2143"/>
                    </a:cubicBezTo>
                    <a:cubicBezTo>
                      <a:pt x="990" y="2265"/>
                      <a:pt x="682" y="2485"/>
                      <a:pt x="449" y="2373"/>
                    </a:cubicBezTo>
                    <a:cubicBezTo>
                      <a:pt x="328" y="2311"/>
                      <a:pt x="103" y="1901"/>
                      <a:pt x="65" y="1723"/>
                    </a:cubicBezTo>
                    <a:cubicBezTo>
                      <a:pt x="0" y="1382"/>
                      <a:pt x="440" y="1224"/>
                      <a:pt x="682" y="1070"/>
                    </a:cubicBezTo>
                    <a:cubicBezTo>
                      <a:pt x="621" y="865"/>
                      <a:pt x="481" y="748"/>
                      <a:pt x="509" y="514"/>
                    </a:cubicBezTo>
                    <a:cubicBezTo>
                      <a:pt x="533" y="294"/>
                      <a:pt x="883" y="57"/>
                      <a:pt x="1140" y="33"/>
                    </a:cubicBezTo>
                    <a:cubicBezTo>
                      <a:pt x="1485" y="0"/>
                      <a:pt x="1528" y="369"/>
                      <a:pt x="1640" y="608"/>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3565;p75">
                <a:extLst>
                  <a:ext uri="{FF2B5EF4-FFF2-40B4-BE49-F238E27FC236}">
                    <a16:creationId xmlns:a16="http://schemas.microsoft.com/office/drawing/2014/main" id="{52DE912A-07FB-348A-7D54-B7B6D2DAD46B}"/>
                  </a:ext>
                </a:extLst>
              </p:cNvPr>
              <p:cNvSpPr/>
              <p:nvPr/>
            </p:nvSpPr>
            <p:spPr>
              <a:xfrm>
                <a:off x="6186659" y="4051149"/>
                <a:ext cx="285581" cy="179972"/>
              </a:xfrm>
              <a:custGeom>
                <a:avLst/>
                <a:gdLst/>
                <a:ahLst/>
                <a:cxnLst/>
                <a:rect l="l" t="t" r="r" b="b"/>
                <a:pathLst>
                  <a:path w="2550" h="1607" extrusionOk="0">
                    <a:moveTo>
                      <a:pt x="2330" y="1"/>
                    </a:moveTo>
                    <a:cubicBezTo>
                      <a:pt x="1798" y="234"/>
                      <a:pt x="1023" y="617"/>
                      <a:pt x="467" y="897"/>
                    </a:cubicBezTo>
                    <a:cubicBezTo>
                      <a:pt x="327" y="967"/>
                      <a:pt x="121" y="1065"/>
                      <a:pt x="0" y="1167"/>
                    </a:cubicBezTo>
                    <a:cubicBezTo>
                      <a:pt x="80" y="1313"/>
                      <a:pt x="159" y="1462"/>
                      <a:pt x="239" y="1606"/>
                    </a:cubicBezTo>
                    <a:cubicBezTo>
                      <a:pt x="453" y="1597"/>
                      <a:pt x="748" y="1363"/>
                      <a:pt x="906" y="1279"/>
                    </a:cubicBezTo>
                    <a:cubicBezTo>
                      <a:pt x="1397" y="1014"/>
                      <a:pt x="1858" y="803"/>
                      <a:pt x="2298" y="570"/>
                    </a:cubicBezTo>
                    <a:cubicBezTo>
                      <a:pt x="2377" y="528"/>
                      <a:pt x="2466" y="486"/>
                      <a:pt x="2550" y="434"/>
                    </a:cubicBezTo>
                    <a:cubicBezTo>
                      <a:pt x="2475" y="290"/>
                      <a:pt x="2405" y="145"/>
                      <a:pt x="23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3566;p75">
                <a:extLst>
                  <a:ext uri="{FF2B5EF4-FFF2-40B4-BE49-F238E27FC236}">
                    <a16:creationId xmlns:a16="http://schemas.microsoft.com/office/drawing/2014/main" id="{4FB21480-CA80-A181-4F72-48795ECAA1DA}"/>
                  </a:ext>
                </a:extLst>
              </p:cNvPr>
              <p:cNvSpPr/>
              <p:nvPr/>
            </p:nvSpPr>
            <p:spPr>
              <a:xfrm>
                <a:off x="6241647" y="4150375"/>
                <a:ext cx="280317" cy="170677"/>
              </a:xfrm>
              <a:custGeom>
                <a:avLst/>
                <a:gdLst/>
                <a:ahLst/>
                <a:cxnLst/>
                <a:rect l="l" t="t" r="r" b="b"/>
                <a:pathLst>
                  <a:path w="2503" h="1524" extrusionOk="0">
                    <a:moveTo>
                      <a:pt x="2470" y="291"/>
                    </a:moveTo>
                    <a:cubicBezTo>
                      <a:pt x="2414" y="197"/>
                      <a:pt x="2358" y="100"/>
                      <a:pt x="2302" y="1"/>
                    </a:cubicBezTo>
                    <a:cubicBezTo>
                      <a:pt x="2087" y="57"/>
                      <a:pt x="1886" y="231"/>
                      <a:pt x="1722" y="309"/>
                    </a:cubicBezTo>
                    <a:cubicBezTo>
                      <a:pt x="1345" y="505"/>
                      <a:pt x="789" y="781"/>
                      <a:pt x="415" y="968"/>
                    </a:cubicBezTo>
                    <a:cubicBezTo>
                      <a:pt x="313" y="1020"/>
                      <a:pt x="134" y="1085"/>
                      <a:pt x="0" y="1164"/>
                    </a:cubicBezTo>
                    <a:cubicBezTo>
                      <a:pt x="4" y="1169"/>
                      <a:pt x="9" y="1173"/>
                      <a:pt x="9" y="1183"/>
                    </a:cubicBezTo>
                    <a:cubicBezTo>
                      <a:pt x="78" y="1295"/>
                      <a:pt x="154" y="1412"/>
                      <a:pt x="224" y="1524"/>
                    </a:cubicBezTo>
                    <a:cubicBezTo>
                      <a:pt x="266" y="1500"/>
                      <a:pt x="308" y="1477"/>
                      <a:pt x="359" y="1458"/>
                    </a:cubicBezTo>
                    <a:cubicBezTo>
                      <a:pt x="1003" y="1192"/>
                      <a:pt x="1485" y="903"/>
                      <a:pt x="2078" y="585"/>
                    </a:cubicBezTo>
                    <a:cubicBezTo>
                      <a:pt x="2180" y="529"/>
                      <a:pt x="2371" y="445"/>
                      <a:pt x="2502" y="347"/>
                    </a:cubicBezTo>
                    <a:cubicBezTo>
                      <a:pt x="2494" y="328"/>
                      <a:pt x="2483" y="309"/>
                      <a:pt x="2470" y="29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3567;p75">
                <a:extLst>
                  <a:ext uri="{FF2B5EF4-FFF2-40B4-BE49-F238E27FC236}">
                    <a16:creationId xmlns:a16="http://schemas.microsoft.com/office/drawing/2014/main" id="{F0B2674A-3A82-7C7D-A053-62C68790169E}"/>
                  </a:ext>
                </a:extLst>
              </p:cNvPr>
              <p:cNvSpPr/>
              <p:nvPr/>
            </p:nvSpPr>
            <p:spPr>
              <a:xfrm>
                <a:off x="6652662" y="3484239"/>
                <a:ext cx="97321" cy="177396"/>
              </a:xfrm>
              <a:custGeom>
                <a:avLst/>
                <a:gdLst/>
                <a:ahLst/>
                <a:cxnLst/>
                <a:rect l="l" t="t" r="r" b="b"/>
                <a:pathLst>
                  <a:path w="869" h="1584" extrusionOk="0">
                    <a:moveTo>
                      <a:pt x="673" y="1578"/>
                    </a:moveTo>
                    <a:cubicBezTo>
                      <a:pt x="462" y="1425"/>
                      <a:pt x="294" y="1024"/>
                      <a:pt x="154" y="617"/>
                    </a:cubicBezTo>
                    <a:cubicBezTo>
                      <a:pt x="93" y="444"/>
                      <a:pt x="0" y="160"/>
                      <a:pt x="149" y="85"/>
                    </a:cubicBezTo>
                    <a:cubicBezTo>
                      <a:pt x="326" y="1"/>
                      <a:pt x="485" y="304"/>
                      <a:pt x="541" y="416"/>
                    </a:cubicBezTo>
                    <a:cubicBezTo>
                      <a:pt x="719" y="761"/>
                      <a:pt x="863" y="1214"/>
                      <a:pt x="869" y="1476"/>
                    </a:cubicBezTo>
                    <a:cubicBezTo>
                      <a:pt x="845" y="1532"/>
                      <a:pt x="742" y="1584"/>
                      <a:pt x="673" y="1578"/>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3568;p75">
                <a:extLst>
                  <a:ext uri="{FF2B5EF4-FFF2-40B4-BE49-F238E27FC236}">
                    <a16:creationId xmlns:a16="http://schemas.microsoft.com/office/drawing/2014/main" id="{1A2A3AC0-C7D7-A9C5-23C5-B8A6812750EB}"/>
                  </a:ext>
                </a:extLst>
              </p:cNvPr>
              <p:cNvSpPr/>
              <p:nvPr/>
            </p:nvSpPr>
            <p:spPr>
              <a:xfrm>
                <a:off x="6488816" y="3419395"/>
                <a:ext cx="96426" cy="111545"/>
              </a:xfrm>
              <a:custGeom>
                <a:avLst/>
                <a:gdLst/>
                <a:ahLst/>
                <a:cxnLst/>
                <a:rect l="l" t="t" r="r" b="b"/>
                <a:pathLst>
                  <a:path w="861" h="996" extrusionOk="0">
                    <a:moveTo>
                      <a:pt x="753" y="743"/>
                    </a:moveTo>
                    <a:cubicBezTo>
                      <a:pt x="417" y="995"/>
                      <a:pt x="1" y="178"/>
                      <a:pt x="328" y="56"/>
                    </a:cubicBezTo>
                    <a:cubicBezTo>
                      <a:pt x="468" y="0"/>
                      <a:pt x="819" y="323"/>
                      <a:pt x="847" y="547"/>
                    </a:cubicBezTo>
                    <a:cubicBezTo>
                      <a:pt x="860" y="627"/>
                      <a:pt x="809" y="701"/>
                      <a:pt x="753" y="743"/>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3569;p75">
                <a:extLst>
                  <a:ext uri="{FF2B5EF4-FFF2-40B4-BE49-F238E27FC236}">
                    <a16:creationId xmlns:a16="http://schemas.microsoft.com/office/drawing/2014/main" id="{8DB3BC46-CDF4-8D6D-E42B-0445B2106718}"/>
                  </a:ext>
                </a:extLst>
              </p:cNvPr>
              <p:cNvSpPr/>
              <p:nvPr/>
            </p:nvSpPr>
            <p:spPr>
              <a:xfrm>
                <a:off x="6479409" y="3301802"/>
                <a:ext cx="99561" cy="88474"/>
              </a:xfrm>
              <a:custGeom>
                <a:avLst/>
                <a:gdLst/>
                <a:ahLst/>
                <a:cxnLst/>
                <a:rect l="l" t="t" r="r" b="b"/>
                <a:pathLst>
                  <a:path w="889" h="790" extrusionOk="0">
                    <a:moveTo>
                      <a:pt x="748" y="692"/>
                    </a:moveTo>
                    <a:cubicBezTo>
                      <a:pt x="641" y="789"/>
                      <a:pt x="444" y="700"/>
                      <a:pt x="295" y="546"/>
                    </a:cubicBezTo>
                    <a:cubicBezTo>
                      <a:pt x="174" y="420"/>
                      <a:pt x="1" y="126"/>
                      <a:pt x="183" y="42"/>
                    </a:cubicBezTo>
                    <a:cubicBezTo>
                      <a:pt x="263" y="0"/>
                      <a:pt x="431" y="52"/>
                      <a:pt x="557" y="177"/>
                    </a:cubicBezTo>
                    <a:cubicBezTo>
                      <a:pt x="707" y="327"/>
                      <a:pt x="888" y="560"/>
                      <a:pt x="748" y="692"/>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3570;p75">
                <a:extLst>
                  <a:ext uri="{FF2B5EF4-FFF2-40B4-BE49-F238E27FC236}">
                    <a16:creationId xmlns:a16="http://schemas.microsoft.com/office/drawing/2014/main" id="{A4F31F5B-3799-80D2-80A7-FF109B0C174E}"/>
                  </a:ext>
                </a:extLst>
              </p:cNvPr>
              <p:cNvSpPr/>
              <p:nvPr/>
            </p:nvSpPr>
            <p:spPr>
              <a:xfrm>
                <a:off x="6344009" y="4497666"/>
                <a:ext cx="84330" cy="69659"/>
              </a:xfrm>
              <a:custGeom>
                <a:avLst/>
                <a:gdLst/>
                <a:ahLst/>
                <a:cxnLst/>
                <a:rect l="l" t="t" r="r" b="b"/>
                <a:pathLst>
                  <a:path w="753" h="622" extrusionOk="0">
                    <a:moveTo>
                      <a:pt x="276" y="1"/>
                    </a:moveTo>
                    <a:cubicBezTo>
                      <a:pt x="0" y="160"/>
                      <a:pt x="692" y="622"/>
                      <a:pt x="733" y="309"/>
                    </a:cubicBezTo>
                    <a:cubicBezTo>
                      <a:pt x="752" y="145"/>
                      <a:pt x="435" y="15"/>
                      <a:pt x="2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3571;p75">
                <a:extLst>
                  <a:ext uri="{FF2B5EF4-FFF2-40B4-BE49-F238E27FC236}">
                    <a16:creationId xmlns:a16="http://schemas.microsoft.com/office/drawing/2014/main" id="{E084C21C-FF5F-A148-09DE-B7D31CD6E90D}"/>
                  </a:ext>
                </a:extLst>
              </p:cNvPr>
              <p:cNvSpPr/>
              <p:nvPr/>
            </p:nvSpPr>
            <p:spPr>
              <a:xfrm>
                <a:off x="6214321" y="4377946"/>
                <a:ext cx="126104" cy="120840"/>
              </a:xfrm>
              <a:custGeom>
                <a:avLst/>
                <a:gdLst/>
                <a:ahLst/>
                <a:cxnLst/>
                <a:rect l="l" t="t" r="r" b="b"/>
                <a:pathLst>
                  <a:path w="1126" h="1079" extrusionOk="0">
                    <a:moveTo>
                      <a:pt x="878" y="1065"/>
                    </a:moveTo>
                    <a:cubicBezTo>
                      <a:pt x="944" y="1079"/>
                      <a:pt x="1085" y="1070"/>
                      <a:pt x="1102" y="934"/>
                    </a:cubicBezTo>
                    <a:cubicBezTo>
                      <a:pt x="1126" y="757"/>
                      <a:pt x="841" y="538"/>
                      <a:pt x="748" y="430"/>
                    </a:cubicBezTo>
                    <a:cubicBezTo>
                      <a:pt x="631" y="300"/>
                      <a:pt x="468" y="1"/>
                      <a:pt x="277" y="38"/>
                    </a:cubicBezTo>
                    <a:cubicBezTo>
                      <a:pt x="1" y="98"/>
                      <a:pt x="309" y="505"/>
                      <a:pt x="421" y="641"/>
                    </a:cubicBezTo>
                    <a:cubicBezTo>
                      <a:pt x="482" y="715"/>
                      <a:pt x="547" y="776"/>
                      <a:pt x="598" y="837"/>
                    </a:cubicBezTo>
                    <a:cubicBezTo>
                      <a:pt x="692" y="934"/>
                      <a:pt x="748" y="1037"/>
                      <a:pt x="878" y="1065"/>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3572;p75">
                <a:extLst>
                  <a:ext uri="{FF2B5EF4-FFF2-40B4-BE49-F238E27FC236}">
                    <a16:creationId xmlns:a16="http://schemas.microsoft.com/office/drawing/2014/main" id="{C87FFD3B-0D3D-7562-AAEE-26F096E6BAAA}"/>
                  </a:ext>
                </a:extLst>
              </p:cNvPr>
              <p:cNvSpPr/>
              <p:nvPr/>
            </p:nvSpPr>
            <p:spPr>
              <a:xfrm>
                <a:off x="5794907" y="2973326"/>
                <a:ext cx="624022" cy="461857"/>
              </a:xfrm>
              <a:custGeom>
                <a:avLst/>
                <a:gdLst/>
                <a:ahLst/>
                <a:cxnLst/>
                <a:rect l="l" t="t" r="r" b="b"/>
                <a:pathLst>
                  <a:path w="5572" h="4124" extrusionOk="0">
                    <a:moveTo>
                      <a:pt x="5114" y="953"/>
                    </a:moveTo>
                    <a:cubicBezTo>
                      <a:pt x="5026" y="799"/>
                      <a:pt x="4974" y="668"/>
                      <a:pt x="4871" y="509"/>
                    </a:cubicBezTo>
                    <a:cubicBezTo>
                      <a:pt x="4773" y="360"/>
                      <a:pt x="4605" y="155"/>
                      <a:pt x="4446" y="89"/>
                    </a:cubicBezTo>
                    <a:cubicBezTo>
                      <a:pt x="4241" y="0"/>
                      <a:pt x="3998" y="75"/>
                      <a:pt x="3765" y="168"/>
                    </a:cubicBezTo>
                    <a:cubicBezTo>
                      <a:pt x="3311" y="351"/>
                      <a:pt x="1780" y="1173"/>
                      <a:pt x="1780" y="1173"/>
                    </a:cubicBezTo>
                    <a:cubicBezTo>
                      <a:pt x="1373" y="1360"/>
                      <a:pt x="996" y="1537"/>
                      <a:pt x="612" y="1761"/>
                    </a:cubicBezTo>
                    <a:cubicBezTo>
                      <a:pt x="393" y="1888"/>
                      <a:pt x="201" y="2032"/>
                      <a:pt x="127" y="2252"/>
                    </a:cubicBezTo>
                    <a:cubicBezTo>
                      <a:pt x="1" y="2648"/>
                      <a:pt x="309" y="3190"/>
                      <a:pt x="379" y="3349"/>
                    </a:cubicBezTo>
                    <a:cubicBezTo>
                      <a:pt x="524" y="3681"/>
                      <a:pt x="705" y="4123"/>
                      <a:pt x="1229" y="4063"/>
                    </a:cubicBezTo>
                    <a:cubicBezTo>
                      <a:pt x="1434" y="4045"/>
                      <a:pt x="1654" y="3927"/>
                      <a:pt x="1854" y="3830"/>
                    </a:cubicBezTo>
                    <a:cubicBezTo>
                      <a:pt x="2196" y="3662"/>
                      <a:pt x="4297" y="2588"/>
                      <a:pt x="4642" y="2420"/>
                    </a:cubicBezTo>
                    <a:cubicBezTo>
                      <a:pt x="4838" y="2321"/>
                      <a:pt x="5063" y="2218"/>
                      <a:pt x="5207" y="2069"/>
                    </a:cubicBezTo>
                    <a:cubicBezTo>
                      <a:pt x="5571" y="1691"/>
                      <a:pt x="5287" y="1271"/>
                      <a:pt x="5114" y="953"/>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3573;p75">
                <a:extLst>
                  <a:ext uri="{FF2B5EF4-FFF2-40B4-BE49-F238E27FC236}">
                    <a16:creationId xmlns:a16="http://schemas.microsoft.com/office/drawing/2014/main" id="{0D5D04EF-4C14-33AB-3F86-6FFEC8E18F6E}"/>
                  </a:ext>
                </a:extLst>
              </p:cNvPr>
              <p:cNvSpPr/>
              <p:nvPr/>
            </p:nvSpPr>
            <p:spPr>
              <a:xfrm>
                <a:off x="5804314" y="3112757"/>
                <a:ext cx="298684" cy="161829"/>
              </a:xfrm>
              <a:custGeom>
                <a:avLst/>
                <a:gdLst/>
                <a:ahLst/>
                <a:cxnLst/>
                <a:rect l="l" t="t" r="r" b="b"/>
                <a:pathLst>
                  <a:path w="2667" h="1445" extrusionOk="0">
                    <a:moveTo>
                      <a:pt x="2519" y="0"/>
                    </a:moveTo>
                    <a:cubicBezTo>
                      <a:pt x="2487" y="0"/>
                      <a:pt x="2453" y="6"/>
                      <a:pt x="2425" y="12"/>
                    </a:cubicBezTo>
                    <a:cubicBezTo>
                      <a:pt x="2317" y="40"/>
                      <a:pt x="2341" y="44"/>
                      <a:pt x="2237" y="82"/>
                    </a:cubicBezTo>
                    <a:cubicBezTo>
                      <a:pt x="1608" y="306"/>
                      <a:pt x="968" y="604"/>
                      <a:pt x="365" y="908"/>
                    </a:cubicBezTo>
                    <a:cubicBezTo>
                      <a:pt x="253" y="960"/>
                      <a:pt x="141" y="1016"/>
                      <a:pt x="24" y="1076"/>
                    </a:cubicBezTo>
                    <a:cubicBezTo>
                      <a:pt x="1" y="1193"/>
                      <a:pt x="15" y="1319"/>
                      <a:pt x="39" y="1445"/>
                    </a:cubicBezTo>
                    <a:cubicBezTo>
                      <a:pt x="141" y="1399"/>
                      <a:pt x="235" y="1352"/>
                      <a:pt x="313" y="1309"/>
                    </a:cubicBezTo>
                    <a:cubicBezTo>
                      <a:pt x="846" y="1039"/>
                      <a:pt x="1360" y="801"/>
                      <a:pt x="1892" y="539"/>
                    </a:cubicBezTo>
                    <a:cubicBezTo>
                      <a:pt x="2032" y="469"/>
                      <a:pt x="2209" y="367"/>
                      <a:pt x="2378" y="264"/>
                    </a:cubicBezTo>
                    <a:cubicBezTo>
                      <a:pt x="2438" y="227"/>
                      <a:pt x="2667" y="133"/>
                      <a:pt x="2611" y="35"/>
                    </a:cubicBezTo>
                    <a:cubicBezTo>
                      <a:pt x="2595" y="9"/>
                      <a:pt x="2559" y="0"/>
                      <a:pt x="25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3574;p75">
                <a:extLst>
                  <a:ext uri="{FF2B5EF4-FFF2-40B4-BE49-F238E27FC236}">
                    <a16:creationId xmlns:a16="http://schemas.microsoft.com/office/drawing/2014/main" id="{5F015060-505C-1D19-28C1-7165F211CD57}"/>
                  </a:ext>
                </a:extLst>
              </p:cNvPr>
              <p:cNvSpPr/>
              <p:nvPr/>
            </p:nvSpPr>
            <p:spPr>
              <a:xfrm>
                <a:off x="6174563" y="2994717"/>
                <a:ext cx="161269" cy="95754"/>
              </a:xfrm>
              <a:custGeom>
                <a:avLst/>
                <a:gdLst/>
                <a:ahLst/>
                <a:cxnLst/>
                <a:rect l="l" t="t" r="r" b="b"/>
                <a:pathLst>
                  <a:path w="1440" h="855" extrusionOk="0">
                    <a:moveTo>
                      <a:pt x="1210" y="1"/>
                    </a:moveTo>
                    <a:cubicBezTo>
                      <a:pt x="1093" y="53"/>
                      <a:pt x="977" y="109"/>
                      <a:pt x="865" y="169"/>
                    </a:cubicBezTo>
                    <a:cubicBezTo>
                      <a:pt x="612" y="296"/>
                      <a:pt x="337" y="417"/>
                      <a:pt x="113" y="604"/>
                    </a:cubicBezTo>
                    <a:cubicBezTo>
                      <a:pt x="71" y="636"/>
                      <a:pt x="39" y="682"/>
                      <a:pt x="33" y="692"/>
                    </a:cubicBezTo>
                    <a:cubicBezTo>
                      <a:pt x="11" y="734"/>
                      <a:pt x="1" y="781"/>
                      <a:pt x="33" y="822"/>
                    </a:cubicBezTo>
                    <a:cubicBezTo>
                      <a:pt x="54" y="845"/>
                      <a:pt x="86" y="854"/>
                      <a:pt x="122" y="854"/>
                    </a:cubicBezTo>
                    <a:cubicBezTo>
                      <a:pt x="214" y="854"/>
                      <a:pt x="338" y="797"/>
                      <a:pt x="421" y="757"/>
                    </a:cubicBezTo>
                    <a:cubicBezTo>
                      <a:pt x="571" y="692"/>
                      <a:pt x="705" y="626"/>
                      <a:pt x="813" y="570"/>
                    </a:cubicBezTo>
                    <a:cubicBezTo>
                      <a:pt x="1024" y="464"/>
                      <a:pt x="1233" y="361"/>
                      <a:pt x="1440" y="262"/>
                    </a:cubicBezTo>
                    <a:cubicBezTo>
                      <a:pt x="1378" y="174"/>
                      <a:pt x="1294" y="76"/>
                      <a:pt x="12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3575;p75">
                <a:extLst>
                  <a:ext uri="{FF2B5EF4-FFF2-40B4-BE49-F238E27FC236}">
                    <a16:creationId xmlns:a16="http://schemas.microsoft.com/office/drawing/2014/main" id="{7C8A0619-40F4-98A9-08A6-4A0187EBDB47}"/>
                  </a:ext>
                </a:extLst>
              </p:cNvPr>
              <p:cNvSpPr/>
              <p:nvPr/>
            </p:nvSpPr>
            <p:spPr>
              <a:xfrm>
                <a:off x="5819993" y="3242558"/>
                <a:ext cx="173252" cy="94298"/>
              </a:xfrm>
              <a:custGeom>
                <a:avLst/>
                <a:gdLst/>
                <a:ahLst/>
                <a:cxnLst/>
                <a:rect l="l" t="t" r="r" b="b"/>
                <a:pathLst>
                  <a:path w="1547" h="842" extrusionOk="0">
                    <a:moveTo>
                      <a:pt x="1369" y="1"/>
                    </a:moveTo>
                    <a:cubicBezTo>
                      <a:pt x="1273" y="1"/>
                      <a:pt x="1133" y="66"/>
                      <a:pt x="1033" y="109"/>
                    </a:cubicBezTo>
                    <a:cubicBezTo>
                      <a:pt x="734" y="234"/>
                      <a:pt x="425" y="398"/>
                      <a:pt x="160" y="538"/>
                    </a:cubicBezTo>
                    <a:cubicBezTo>
                      <a:pt x="117" y="557"/>
                      <a:pt x="61" y="585"/>
                      <a:pt x="1" y="609"/>
                    </a:cubicBezTo>
                    <a:cubicBezTo>
                      <a:pt x="39" y="697"/>
                      <a:pt x="76" y="777"/>
                      <a:pt x="104" y="842"/>
                    </a:cubicBezTo>
                    <a:cubicBezTo>
                      <a:pt x="449" y="702"/>
                      <a:pt x="772" y="557"/>
                      <a:pt x="1117" y="370"/>
                    </a:cubicBezTo>
                    <a:cubicBezTo>
                      <a:pt x="1244" y="305"/>
                      <a:pt x="1546" y="160"/>
                      <a:pt x="1458" y="38"/>
                    </a:cubicBezTo>
                    <a:cubicBezTo>
                      <a:pt x="1439" y="11"/>
                      <a:pt x="1407" y="1"/>
                      <a:pt x="136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3576;p75">
                <a:extLst>
                  <a:ext uri="{FF2B5EF4-FFF2-40B4-BE49-F238E27FC236}">
                    <a16:creationId xmlns:a16="http://schemas.microsoft.com/office/drawing/2014/main" id="{C789BD2A-C8C9-D884-2A97-8F57EEB4B067}"/>
                  </a:ext>
                </a:extLst>
              </p:cNvPr>
              <p:cNvSpPr/>
              <p:nvPr/>
            </p:nvSpPr>
            <p:spPr>
              <a:xfrm>
                <a:off x="6203906" y="3106262"/>
                <a:ext cx="188371" cy="107961"/>
              </a:xfrm>
              <a:custGeom>
                <a:avLst/>
                <a:gdLst/>
                <a:ahLst/>
                <a:cxnLst/>
                <a:rect l="l" t="t" r="r" b="b"/>
                <a:pathLst>
                  <a:path w="1682" h="964" extrusionOk="0">
                    <a:moveTo>
                      <a:pt x="1588" y="0"/>
                    </a:moveTo>
                    <a:cubicBezTo>
                      <a:pt x="1467" y="37"/>
                      <a:pt x="1318" y="130"/>
                      <a:pt x="1219" y="173"/>
                    </a:cubicBezTo>
                    <a:cubicBezTo>
                      <a:pt x="948" y="303"/>
                      <a:pt x="631" y="448"/>
                      <a:pt x="346" y="606"/>
                    </a:cubicBezTo>
                    <a:cubicBezTo>
                      <a:pt x="215" y="686"/>
                      <a:pt x="1" y="794"/>
                      <a:pt x="33" y="906"/>
                    </a:cubicBezTo>
                    <a:cubicBezTo>
                      <a:pt x="46" y="948"/>
                      <a:pt x="82" y="964"/>
                      <a:pt x="129" y="964"/>
                    </a:cubicBezTo>
                    <a:cubicBezTo>
                      <a:pt x="240" y="964"/>
                      <a:pt x="414" y="878"/>
                      <a:pt x="505" y="835"/>
                    </a:cubicBezTo>
                    <a:cubicBezTo>
                      <a:pt x="911" y="649"/>
                      <a:pt x="1262" y="462"/>
                      <a:pt x="1630" y="238"/>
                    </a:cubicBezTo>
                    <a:cubicBezTo>
                      <a:pt x="1644" y="229"/>
                      <a:pt x="1663" y="219"/>
                      <a:pt x="1682" y="205"/>
                    </a:cubicBezTo>
                    <a:cubicBezTo>
                      <a:pt x="1654" y="135"/>
                      <a:pt x="1626" y="70"/>
                      <a:pt x="158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3577;p75">
                <a:extLst>
                  <a:ext uri="{FF2B5EF4-FFF2-40B4-BE49-F238E27FC236}">
                    <a16:creationId xmlns:a16="http://schemas.microsoft.com/office/drawing/2014/main" id="{93CDD44D-7D92-1082-69DB-FE46ECD67061}"/>
                  </a:ext>
                </a:extLst>
              </p:cNvPr>
              <p:cNvSpPr/>
              <p:nvPr/>
            </p:nvSpPr>
            <p:spPr>
              <a:xfrm>
                <a:off x="5849335" y="3239198"/>
                <a:ext cx="296556" cy="166757"/>
              </a:xfrm>
              <a:custGeom>
                <a:avLst/>
                <a:gdLst/>
                <a:ahLst/>
                <a:cxnLst/>
                <a:rect l="l" t="t" r="r" b="b"/>
                <a:pathLst>
                  <a:path w="2648" h="1489" extrusionOk="0">
                    <a:moveTo>
                      <a:pt x="2498" y="1"/>
                    </a:moveTo>
                    <a:cubicBezTo>
                      <a:pt x="2409" y="1"/>
                      <a:pt x="2298" y="58"/>
                      <a:pt x="2256" y="74"/>
                    </a:cubicBezTo>
                    <a:cubicBezTo>
                      <a:pt x="1887" y="208"/>
                      <a:pt x="1546" y="382"/>
                      <a:pt x="1206" y="550"/>
                    </a:cubicBezTo>
                    <a:cubicBezTo>
                      <a:pt x="846" y="732"/>
                      <a:pt x="500" y="895"/>
                      <a:pt x="145" y="1119"/>
                    </a:cubicBezTo>
                    <a:cubicBezTo>
                      <a:pt x="103" y="1147"/>
                      <a:pt x="51" y="1180"/>
                      <a:pt x="1" y="1212"/>
                    </a:cubicBezTo>
                    <a:cubicBezTo>
                      <a:pt x="51" y="1311"/>
                      <a:pt x="113" y="1409"/>
                      <a:pt x="182" y="1488"/>
                    </a:cubicBezTo>
                    <a:cubicBezTo>
                      <a:pt x="318" y="1413"/>
                      <a:pt x="454" y="1335"/>
                      <a:pt x="584" y="1259"/>
                    </a:cubicBezTo>
                    <a:cubicBezTo>
                      <a:pt x="1178" y="923"/>
                      <a:pt x="1723" y="676"/>
                      <a:pt x="2326" y="339"/>
                    </a:cubicBezTo>
                    <a:cubicBezTo>
                      <a:pt x="2382" y="307"/>
                      <a:pt x="2648" y="162"/>
                      <a:pt x="2606" y="64"/>
                    </a:cubicBezTo>
                    <a:cubicBezTo>
                      <a:pt x="2585" y="17"/>
                      <a:pt x="2544" y="1"/>
                      <a:pt x="249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3578;p75">
                <a:extLst>
                  <a:ext uri="{FF2B5EF4-FFF2-40B4-BE49-F238E27FC236}">
                    <a16:creationId xmlns:a16="http://schemas.microsoft.com/office/drawing/2014/main" id="{87ECFE48-3F41-0A96-792E-797CEB755058}"/>
                  </a:ext>
                </a:extLst>
              </p:cNvPr>
              <p:cNvSpPr/>
              <p:nvPr/>
            </p:nvSpPr>
            <p:spPr>
              <a:xfrm>
                <a:off x="6068394" y="3048137"/>
                <a:ext cx="294540" cy="153430"/>
              </a:xfrm>
              <a:custGeom>
                <a:avLst/>
                <a:gdLst/>
                <a:ahLst/>
                <a:cxnLst/>
                <a:rect l="l" t="t" r="r" b="b"/>
                <a:pathLst>
                  <a:path w="2630" h="1370" extrusionOk="0">
                    <a:moveTo>
                      <a:pt x="2522" y="0"/>
                    </a:moveTo>
                    <a:cubicBezTo>
                      <a:pt x="1934" y="285"/>
                      <a:pt x="589" y="976"/>
                      <a:pt x="477" y="1028"/>
                    </a:cubicBezTo>
                    <a:cubicBezTo>
                      <a:pt x="291" y="1121"/>
                      <a:pt x="0" y="1224"/>
                      <a:pt x="80" y="1369"/>
                    </a:cubicBezTo>
                    <a:cubicBezTo>
                      <a:pt x="84" y="1369"/>
                      <a:pt x="88" y="1369"/>
                      <a:pt x="93" y="1369"/>
                    </a:cubicBezTo>
                    <a:cubicBezTo>
                      <a:pt x="354" y="1369"/>
                      <a:pt x="1896" y="591"/>
                      <a:pt x="2630" y="211"/>
                    </a:cubicBezTo>
                    <a:cubicBezTo>
                      <a:pt x="2593" y="136"/>
                      <a:pt x="2560" y="71"/>
                      <a:pt x="252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 name="Google Shape;3579;p75">
              <a:extLst>
                <a:ext uri="{FF2B5EF4-FFF2-40B4-BE49-F238E27FC236}">
                  <a16:creationId xmlns:a16="http://schemas.microsoft.com/office/drawing/2014/main" id="{F55C27B4-23D6-61BF-7A53-57392BF3EA94}"/>
                </a:ext>
              </a:extLst>
            </p:cNvPr>
            <p:cNvGrpSpPr/>
            <p:nvPr/>
          </p:nvGrpSpPr>
          <p:grpSpPr>
            <a:xfrm>
              <a:off x="5342526" y="2658146"/>
              <a:ext cx="764613" cy="1048965"/>
              <a:chOff x="4650798" y="1411148"/>
              <a:chExt cx="956189" cy="2229028"/>
            </a:xfrm>
          </p:grpSpPr>
          <p:grpSp>
            <p:nvGrpSpPr>
              <p:cNvPr id="15" name="Google Shape;3580;p75">
                <a:extLst>
                  <a:ext uri="{FF2B5EF4-FFF2-40B4-BE49-F238E27FC236}">
                    <a16:creationId xmlns:a16="http://schemas.microsoft.com/office/drawing/2014/main" id="{747BB94F-6B87-C1D8-A640-59D58396A95D}"/>
                  </a:ext>
                </a:extLst>
              </p:cNvPr>
              <p:cNvGrpSpPr/>
              <p:nvPr/>
            </p:nvGrpSpPr>
            <p:grpSpPr>
              <a:xfrm>
                <a:off x="4650798" y="2834710"/>
                <a:ext cx="956189" cy="805466"/>
                <a:chOff x="4650798" y="2834710"/>
                <a:chExt cx="956189" cy="805466"/>
              </a:xfrm>
            </p:grpSpPr>
            <p:grpSp>
              <p:nvGrpSpPr>
                <p:cNvPr id="22" name="Google Shape;3581;p75">
                  <a:extLst>
                    <a:ext uri="{FF2B5EF4-FFF2-40B4-BE49-F238E27FC236}">
                      <a16:creationId xmlns:a16="http://schemas.microsoft.com/office/drawing/2014/main" id="{B5B66C43-436D-3E0C-CF54-67BD798EDCD0}"/>
                    </a:ext>
                  </a:extLst>
                </p:cNvPr>
                <p:cNvGrpSpPr/>
                <p:nvPr/>
              </p:nvGrpSpPr>
              <p:grpSpPr>
                <a:xfrm rot="5400000">
                  <a:off x="5360118" y="2801250"/>
                  <a:ext cx="213408" cy="280329"/>
                  <a:chOff x="2664095" y="4343724"/>
                  <a:chExt cx="111755" cy="146823"/>
                </a:xfrm>
              </p:grpSpPr>
              <p:sp>
                <p:nvSpPr>
                  <p:cNvPr id="34" name="Google Shape;3582;p75">
                    <a:extLst>
                      <a:ext uri="{FF2B5EF4-FFF2-40B4-BE49-F238E27FC236}">
                        <a16:creationId xmlns:a16="http://schemas.microsoft.com/office/drawing/2014/main" id="{F048B293-DE50-F746-BCFD-AA5640BDCA93}"/>
                      </a:ext>
                    </a:extLst>
                  </p:cNvPr>
                  <p:cNvSpPr/>
                  <p:nvPr/>
                </p:nvSpPr>
                <p:spPr>
                  <a:xfrm>
                    <a:off x="2664095" y="4343724"/>
                    <a:ext cx="111755" cy="146823"/>
                  </a:xfrm>
                  <a:custGeom>
                    <a:avLst/>
                    <a:gdLst/>
                    <a:ahLst/>
                    <a:cxnLst/>
                    <a:rect l="l" t="t" r="r" b="b"/>
                    <a:pathLst>
                      <a:path w="2396" h="3148" extrusionOk="0">
                        <a:moveTo>
                          <a:pt x="359" y="1733"/>
                        </a:moveTo>
                        <a:cubicBezTo>
                          <a:pt x="318" y="1813"/>
                          <a:pt x="215" y="1971"/>
                          <a:pt x="163" y="2106"/>
                        </a:cubicBezTo>
                        <a:cubicBezTo>
                          <a:pt x="1" y="2507"/>
                          <a:pt x="9" y="3096"/>
                          <a:pt x="565" y="3134"/>
                        </a:cubicBezTo>
                        <a:cubicBezTo>
                          <a:pt x="770" y="3147"/>
                          <a:pt x="1027" y="3012"/>
                          <a:pt x="1186" y="2858"/>
                        </a:cubicBezTo>
                        <a:cubicBezTo>
                          <a:pt x="1410" y="2643"/>
                          <a:pt x="1690" y="2223"/>
                          <a:pt x="1906" y="1835"/>
                        </a:cubicBezTo>
                        <a:cubicBezTo>
                          <a:pt x="2124" y="1443"/>
                          <a:pt x="2395" y="929"/>
                          <a:pt x="2386" y="630"/>
                        </a:cubicBezTo>
                        <a:cubicBezTo>
                          <a:pt x="2376" y="332"/>
                          <a:pt x="2139" y="0"/>
                          <a:pt x="1738" y="14"/>
                        </a:cubicBezTo>
                        <a:cubicBezTo>
                          <a:pt x="1368" y="28"/>
                          <a:pt x="1144" y="421"/>
                          <a:pt x="882" y="832"/>
                        </a:cubicBezTo>
                        <a:cubicBezTo>
                          <a:pt x="691" y="1135"/>
                          <a:pt x="533" y="1420"/>
                          <a:pt x="359" y="1733"/>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583;p75">
                    <a:extLst>
                      <a:ext uri="{FF2B5EF4-FFF2-40B4-BE49-F238E27FC236}">
                        <a16:creationId xmlns:a16="http://schemas.microsoft.com/office/drawing/2014/main" id="{0D00340B-B6A6-236A-6644-E21E2776B446}"/>
                      </a:ext>
                    </a:extLst>
                  </p:cNvPr>
                  <p:cNvSpPr/>
                  <p:nvPr/>
                </p:nvSpPr>
                <p:spPr>
                  <a:xfrm>
                    <a:off x="2664095" y="4402304"/>
                    <a:ext cx="85402" cy="87637"/>
                  </a:xfrm>
                  <a:custGeom>
                    <a:avLst/>
                    <a:gdLst/>
                    <a:ahLst/>
                    <a:cxnLst/>
                    <a:rect l="l" t="t" r="r" b="b"/>
                    <a:pathLst>
                      <a:path w="1831" h="1879" extrusionOk="0">
                        <a:moveTo>
                          <a:pt x="630" y="1"/>
                        </a:moveTo>
                        <a:cubicBezTo>
                          <a:pt x="537" y="154"/>
                          <a:pt x="453" y="313"/>
                          <a:pt x="359" y="477"/>
                        </a:cubicBezTo>
                        <a:cubicBezTo>
                          <a:pt x="318" y="557"/>
                          <a:pt x="215" y="715"/>
                          <a:pt x="163" y="850"/>
                        </a:cubicBezTo>
                        <a:cubicBezTo>
                          <a:pt x="1" y="1251"/>
                          <a:pt x="9" y="1840"/>
                          <a:pt x="565" y="1878"/>
                        </a:cubicBezTo>
                        <a:cubicBezTo>
                          <a:pt x="575" y="1878"/>
                          <a:pt x="584" y="1879"/>
                          <a:pt x="594" y="1879"/>
                        </a:cubicBezTo>
                        <a:cubicBezTo>
                          <a:pt x="794" y="1879"/>
                          <a:pt x="1034" y="1749"/>
                          <a:pt x="1186" y="1602"/>
                        </a:cubicBezTo>
                        <a:cubicBezTo>
                          <a:pt x="1382" y="1410"/>
                          <a:pt x="1625" y="1061"/>
                          <a:pt x="1831" y="715"/>
                        </a:cubicBezTo>
                        <a:lnTo>
                          <a:pt x="1831" y="715"/>
                        </a:lnTo>
                        <a:cubicBezTo>
                          <a:pt x="1734" y="736"/>
                          <a:pt x="1644" y="746"/>
                          <a:pt x="1560" y="746"/>
                        </a:cubicBezTo>
                        <a:cubicBezTo>
                          <a:pt x="1037" y="746"/>
                          <a:pt x="768" y="351"/>
                          <a:pt x="63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584;p75">
                    <a:extLst>
                      <a:ext uri="{FF2B5EF4-FFF2-40B4-BE49-F238E27FC236}">
                        <a16:creationId xmlns:a16="http://schemas.microsoft.com/office/drawing/2014/main" id="{A0D7847F-1711-7487-4CE0-D00B382E71E3}"/>
                      </a:ext>
                    </a:extLst>
                  </p:cNvPr>
                  <p:cNvSpPr/>
                  <p:nvPr/>
                </p:nvSpPr>
                <p:spPr>
                  <a:xfrm>
                    <a:off x="2686950" y="4393816"/>
                    <a:ext cx="25747" cy="34654"/>
                  </a:xfrm>
                  <a:custGeom>
                    <a:avLst/>
                    <a:gdLst/>
                    <a:ahLst/>
                    <a:cxnLst/>
                    <a:rect l="l" t="t" r="r" b="b"/>
                    <a:pathLst>
                      <a:path w="552" h="743" extrusionOk="0">
                        <a:moveTo>
                          <a:pt x="552" y="56"/>
                        </a:moveTo>
                        <a:cubicBezTo>
                          <a:pt x="552" y="187"/>
                          <a:pt x="429" y="374"/>
                          <a:pt x="304" y="551"/>
                        </a:cubicBezTo>
                        <a:cubicBezTo>
                          <a:pt x="252" y="626"/>
                          <a:pt x="159" y="743"/>
                          <a:pt x="89" y="705"/>
                        </a:cubicBezTo>
                        <a:cubicBezTo>
                          <a:pt x="0" y="654"/>
                          <a:pt x="80" y="500"/>
                          <a:pt x="112" y="448"/>
                        </a:cubicBezTo>
                        <a:cubicBezTo>
                          <a:pt x="201" y="276"/>
                          <a:pt x="345" y="84"/>
                          <a:pt x="453" y="4"/>
                        </a:cubicBezTo>
                        <a:cubicBezTo>
                          <a:pt x="485" y="0"/>
                          <a:pt x="533" y="28"/>
                          <a:pt x="552" y="56"/>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585;p75">
                    <a:extLst>
                      <a:ext uri="{FF2B5EF4-FFF2-40B4-BE49-F238E27FC236}">
                        <a16:creationId xmlns:a16="http://schemas.microsoft.com/office/drawing/2014/main" id="{F782A4B6-45E4-4005-94CF-B16AB748D031}"/>
                      </a:ext>
                    </a:extLst>
                  </p:cNvPr>
                  <p:cNvSpPr/>
                  <p:nvPr/>
                </p:nvSpPr>
                <p:spPr>
                  <a:xfrm>
                    <a:off x="2698890" y="4424039"/>
                    <a:ext cx="19870" cy="22760"/>
                  </a:xfrm>
                  <a:custGeom>
                    <a:avLst/>
                    <a:gdLst/>
                    <a:ahLst/>
                    <a:cxnLst/>
                    <a:rect l="l" t="t" r="r" b="b"/>
                    <a:pathLst>
                      <a:path w="426" h="488" extrusionOk="0">
                        <a:moveTo>
                          <a:pt x="225" y="15"/>
                        </a:moveTo>
                        <a:cubicBezTo>
                          <a:pt x="426" y="80"/>
                          <a:pt x="212" y="487"/>
                          <a:pt x="67" y="389"/>
                        </a:cubicBezTo>
                        <a:cubicBezTo>
                          <a:pt x="1" y="347"/>
                          <a:pt x="33" y="108"/>
                          <a:pt x="117" y="34"/>
                        </a:cubicBezTo>
                        <a:cubicBezTo>
                          <a:pt x="145" y="6"/>
                          <a:pt x="193" y="1"/>
                          <a:pt x="225" y="15"/>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oogle Shape;3586;p75">
                  <a:extLst>
                    <a:ext uri="{FF2B5EF4-FFF2-40B4-BE49-F238E27FC236}">
                      <a16:creationId xmlns:a16="http://schemas.microsoft.com/office/drawing/2014/main" id="{C6FBA55D-6619-9EF9-27C6-9EE40B57FEF4}"/>
                    </a:ext>
                  </a:extLst>
                </p:cNvPr>
                <p:cNvGrpSpPr/>
                <p:nvPr/>
              </p:nvGrpSpPr>
              <p:grpSpPr>
                <a:xfrm rot="-956897">
                  <a:off x="5268021" y="3335925"/>
                  <a:ext cx="213408" cy="280326"/>
                  <a:chOff x="2664095" y="4343724"/>
                  <a:chExt cx="111755" cy="146823"/>
                </a:xfrm>
              </p:grpSpPr>
              <p:sp>
                <p:nvSpPr>
                  <p:cNvPr id="30" name="Google Shape;3587;p75">
                    <a:extLst>
                      <a:ext uri="{FF2B5EF4-FFF2-40B4-BE49-F238E27FC236}">
                        <a16:creationId xmlns:a16="http://schemas.microsoft.com/office/drawing/2014/main" id="{CE29EC29-101B-6F19-FB2B-E32D1C51DA46}"/>
                      </a:ext>
                    </a:extLst>
                  </p:cNvPr>
                  <p:cNvSpPr/>
                  <p:nvPr/>
                </p:nvSpPr>
                <p:spPr>
                  <a:xfrm>
                    <a:off x="2664095" y="4343724"/>
                    <a:ext cx="111755" cy="146823"/>
                  </a:xfrm>
                  <a:custGeom>
                    <a:avLst/>
                    <a:gdLst/>
                    <a:ahLst/>
                    <a:cxnLst/>
                    <a:rect l="l" t="t" r="r" b="b"/>
                    <a:pathLst>
                      <a:path w="2396" h="3148" extrusionOk="0">
                        <a:moveTo>
                          <a:pt x="359" y="1733"/>
                        </a:moveTo>
                        <a:cubicBezTo>
                          <a:pt x="318" y="1813"/>
                          <a:pt x="215" y="1971"/>
                          <a:pt x="163" y="2106"/>
                        </a:cubicBezTo>
                        <a:cubicBezTo>
                          <a:pt x="1" y="2507"/>
                          <a:pt x="9" y="3096"/>
                          <a:pt x="565" y="3134"/>
                        </a:cubicBezTo>
                        <a:cubicBezTo>
                          <a:pt x="770" y="3147"/>
                          <a:pt x="1027" y="3012"/>
                          <a:pt x="1186" y="2858"/>
                        </a:cubicBezTo>
                        <a:cubicBezTo>
                          <a:pt x="1410" y="2643"/>
                          <a:pt x="1690" y="2223"/>
                          <a:pt x="1906" y="1835"/>
                        </a:cubicBezTo>
                        <a:cubicBezTo>
                          <a:pt x="2124" y="1443"/>
                          <a:pt x="2395" y="929"/>
                          <a:pt x="2386" y="630"/>
                        </a:cubicBezTo>
                        <a:cubicBezTo>
                          <a:pt x="2376" y="332"/>
                          <a:pt x="2139" y="0"/>
                          <a:pt x="1738" y="14"/>
                        </a:cubicBezTo>
                        <a:cubicBezTo>
                          <a:pt x="1368" y="28"/>
                          <a:pt x="1144" y="421"/>
                          <a:pt x="882" y="832"/>
                        </a:cubicBezTo>
                        <a:cubicBezTo>
                          <a:pt x="691" y="1135"/>
                          <a:pt x="533" y="1420"/>
                          <a:pt x="359" y="1733"/>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588;p75">
                    <a:extLst>
                      <a:ext uri="{FF2B5EF4-FFF2-40B4-BE49-F238E27FC236}">
                        <a16:creationId xmlns:a16="http://schemas.microsoft.com/office/drawing/2014/main" id="{DC5225BE-E205-818D-6494-D4DFAD237ED2}"/>
                      </a:ext>
                    </a:extLst>
                  </p:cNvPr>
                  <p:cNvSpPr/>
                  <p:nvPr/>
                </p:nvSpPr>
                <p:spPr>
                  <a:xfrm>
                    <a:off x="2664095" y="4402304"/>
                    <a:ext cx="85402" cy="87637"/>
                  </a:xfrm>
                  <a:custGeom>
                    <a:avLst/>
                    <a:gdLst/>
                    <a:ahLst/>
                    <a:cxnLst/>
                    <a:rect l="l" t="t" r="r" b="b"/>
                    <a:pathLst>
                      <a:path w="1831" h="1879" extrusionOk="0">
                        <a:moveTo>
                          <a:pt x="630" y="1"/>
                        </a:moveTo>
                        <a:cubicBezTo>
                          <a:pt x="537" y="154"/>
                          <a:pt x="453" y="313"/>
                          <a:pt x="359" y="477"/>
                        </a:cubicBezTo>
                        <a:cubicBezTo>
                          <a:pt x="318" y="557"/>
                          <a:pt x="215" y="715"/>
                          <a:pt x="163" y="850"/>
                        </a:cubicBezTo>
                        <a:cubicBezTo>
                          <a:pt x="1" y="1251"/>
                          <a:pt x="9" y="1840"/>
                          <a:pt x="565" y="1878"/>
                        </a:cubicBezTo>
                        <a:cubicBezTo>
                          <a:pt x="575" y="1878"/>
                          <a:pt x="584" y="1879"/>
                          <a:pt x="594" y="1879"/>
                        </a:cubicBezTo>
                        <a:cubicBezTo>
                          <a:pt x="794" y="1879"/>
                          <a:pt x="1034" y="1749"/>
                          <a:pt x="1186" y="1602"/>
                        </a:cubicBezTo>
                        <a:cubicBezTo>
                          <a:pt x="1382" y="1410"/>
                          <a:pt x="1625" y="1061"/>
                          <a:pt x="1831" y="715"/>
                        </a:cubicBezTo>
                        <a:lnTo>
                          <a:pt x="1831" y="715"/>
                        </a:lnTo>
                        <a:cubicBezTo>
                          <a:pt x="1734" y="736"/>
                          <a:pt x="1644" y="746"/>
                          <a:pt x="1560" y="746"/>
                        </a:cubicBezTo>
                        <a:cubicBezTo>
                          <a:pt x="1037" y="746"/>
                          <a:pt x="768" y="351"/>
                          <a:pt x="63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589;p75">
                    <a:extLst>
                      <a:ext uri="{FF2B5EF4-FFF2-40B4-BE49-F238E27FC236}">
                        <a16:creationId xmlns:a16="http://schemas.microsoft.com/office/drawing/2014/main" id="{E940DBFF-B5A8-34FA-A287-8A1CDB8C8DF7}"/>
                      </a:ext>
                    </a:extLst>
                  </p:cNvPr>
                  <p:cNvSpPr/>
                  <p:nvPr/>
                </p:nvSpPr>
                <p:spPr>
                  <a:xfrm>
                    <a:off x="2686950" y="4393816"/>
                    <a:ext cx="25747" cy="34654"/>
                  </a:xfrm>
                  <a:custGeom>
                    <a:avLst/>
                    <a:gdLst/>
                    <a:ahLst/>
                    <a:cxnLst/>
                    <a:rect l="l" t="t" r="r" b="b"/>
                    <a:pathLst>
                      <a:path w="552" h="743" extrusionOk="0">
                        <a:moveTo>
                          <a:pt x="552" y="56"/>
                        </a:moveTo>
                        <a:cubicBezTo>
                          <a:pt x="552" y="187"/>
                          <a:pt x="429" y="374"/>
                          <a:pt x="304" y="551"/>
                        </a:cubicBezTo>
                        <a:cubicBezTo>
                          <a:pt x="252" y="626"/>
                          <a:pt x="159" y="743"/>
                          <a:pt x="89" y="705"/>
                        </a:cubicBezTo>
                        <a:cubicBezTo>
                          <a:pt x="0" y="654"/>
                          <a:pt x="80" y="500"/>
                          <a:pt x="112" y="448"/>
                        </a:cubicBezTo>
                        <a:cubicBezTo>
                          <a:pt x="201" y="276"/>
                          <a:pt x="345" y="84"/>
                          <a:pt x="453" y="4"/>
                        </a:cubicBezTo>
                        <a:cubicBezTo>
                          <a:pt x="485" y="0"/>
                          <a:pt x="533" y="28"/>
                          <a:pt x="552" y="56"/>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3590;p75">
                    <a:extLst>
                      <a:ext uri="{FF2B5EF4-FFF2-40B4-BE49-F238E27FC236}">
                        <a16:creationId xmlns:a16="http://schemas.microsoft.com/office/drawing/2014/main" id="{54468BEF-E9D7-F99B-F1E2-3B85D13A0F42}"/>
                      </a:ext>
                    </a:extLst>
                  </p:cNvPr>
                  <p:cNvSpPr/>
                  <p:nvPr/>
                </p:nvSpPr>
                <p:spPr>
                  <a:xfrm>
                    <a:off x="2698890" y="4424039"/>
                    <a:ext cx="19870" cy="22760"/>
                  </a:xfrm>
                  <a:custGeom>
                    <a:avLst/>
                    <a:gdLst/>
                    <a:ahLst/>
                    <a:cxnLst/>
                    <a:rect l="l" t="t" r="r" b="b"/>
                    <a:pathLst>
                      <a:path w="426" h="488" extrusionOk="0">
                        <a:moveTo>
                          <a:pt x="225" y="15"/>
                        </a:moveTo>
                        <a:cubicBezTo>
                          <a:pt x="426" y="80"/>
                          <a:pt x="212" y="487"/>
                          <a:pt x="67" y="389"/>
                        </a:cubicBezTo>
                        <a:cubicBezTo>
                          <a:pt x="1" y="347"/>
                          <a:pt x="33" y="108"/>
                          <a:pt x="117" y="34"/>
                        </a:cubicBezTo>
                        <a:cubicBezTo>
                          <a:pt x="145" y="6"/>
                          <a:pt x="193" y="1"/>
                          <a:pt x="225" y="15"/>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3591;p75">
                  <a:extLst>
                    <a:ext uri="{FF2B5EF4-FFF2-40B4-BE49-F238E27FC236}">
                      <a16:creationId xmlns:a16="http://schemas.microsoft.com/office/drawing/2014/main" id="{16A2069E-16B4-51FC-CB2D-A4F879B7B656}"/>
                    </a:ext>
                  </a:extLst>
                </p:cNvPr>
                <p:cNvGrpSpPr/>
                <p:nvPr/>
              </p:nvGrpSpPr>
              <p:grpSpPr>
                <a:xfrm rot="6299944">
                  <a:off x="4707096" y="3334858"/>
                  <a:ext cx="213404" cy="280324"/>
                  <a:chOff x="2664095" y="4343724"/>
                  <a:chExt cx="111755" cy="146823"/>
                </a:xfrm>
              </p:grpSpPr>
              <p:sp>
                <p:nvSpPr>
                  <p:cNvPr id="26" name="Google Shape;3592;p75">
                    <a:extLst>
                      <a:ext uri="{FF2B5EF4-FFF2-40B4-BE49-F238E27FC236}">
                        <a16:creationId xmlns:a16="http://schemas.microsoft.com/office/drawing/2014/main" id="{B85804EF-A90F-737D-1215-4FA57BF092E6}"/>
                      </a:ext>
                    </a:extLst>
                  </p:cNvPr>
                  <p:cNvSpPr/>
                  <p:nvPr/>
                </p:nvSpPr>
                <p:spPr>
                  <a:xfrm>
                    <a:off x="2664095" y="4343724"/>
                    <a:ext cx="111755" cy="146823"/>
                  </a:xfrm>
                  <a:custGeom>
                    <a:avLst/>
                    <a:gdLst/>
                    <a:ahLst/>
                    <a:cxnLst/>
                    <a:rect l="l" t="t" r="r" b="b"/>
                    <a:pathLst>
                      <a:path w="2396" h="3148" extrusionOk="0">
                        <a:moveTo>
                          <a:pt x="359" y="1733"/>
                        </a:moveTo>
                        <a:cubicBezTo>
                          <a:pt x="318" y="1813"/>
                          <a:pt x="215" y="1971"/>
                          <a:pt x="163" y="2106"/>
                        </a:cubicBezTo>
                        <a:cubicBezTo>
                          <a:pt x="1" y="2507"/>
                          <a:pt x="9" y="3096"/>
                          <a:pt x="565" y="3134"/>
                        </a:cubicBezTo>
                        <a:cubicBezTo>
                          <a:pt x="770" y="3147"/>
                          <a:pt x="1027" y="3012"/>
                          <a:pt x="1186" y="2858"/>
                        </a:cubicBezTo>
                        <a:cubicBezTo>
                          <a:pt x="1410" y="2643"/>
                          <a:pt x="1690" y="2223"/>
                          <a:pt x="1906" y="1835"/>
                        </a:cubicBezTo>
                        <a:cubicBezTo>
                          <a:pt x="2124" y="1443"/>
                          <a:pt x="2395" y="929"/>
                          <a:pt x="2386" y="630"/>
                        </a:cubicBezTo>
                        <a:cubicBezTo>
                          <a:pt x="2376" y="332"/>
                          <a:pt x="2139" y="0"/>
                          <a:pt x="1738" y="14"/>
                        </a:cubicBezTo>
                        <a:cubicBezTo>
                          <a:pt x="1368" y="28"/>
                          <a:pt x="1144" y="421"/>
                          <a:pt x="882" y="832"/>
                        </a:cubicBezTo>
                        <a:cubicBezTo>
                          <a:pt x="691" y="1135"/>
                          <a:pt x="533" y="1420"/>
                          <a:pt x="359" y="1733"/>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3593;p75">
                    <a:extLst>
                      <a:ext uri="{FF2B5EF4-FFF2-40B4-BE49-F238E27FC236}">
                        <a16:creationId xmlns:a16="http://schemas.microsoft.com/office/drawing/2014/main" id="{083E607D-21DD-4B6E-1E8A-2764639EA2B1}"/>
                      </a:ext>
                    </a:extLst>
                  </p:cNvPr>
                  <p:cNvSpPr/>
                  <p:nvPr/>
                </p:nvSpPr>
                <p:spPr>
                  <a:xfrm>
                    <a:off x="2664095" y="4402304"/>
                    <a:ext cx="85402" cy="87637"/>
                  </a:xfrm>
                  <a:custGeom>
                    <a:avLst/>
                    <a:gdLst/>
                    <a:ahLst/>
                    <a:cxnLst/>
                    <a:rect l="l" t="t" r="r" b="b"/>
                    <a:pathLst>
                      <a:path w="1831" h="1879" extrusionOk="0">
                        <a:moveTo>
                          <a:pt x="630" y="1"/>
                        </a:moveTo>
                        <a:cubicBezTo>
                          <a:pt x="537" y="154"/>
                          <a:pt x="453" y="313"/>
                          <a:pt x="359" y="477"/>
                        </a:cubicBezTo>
                        <a:cubicBezTo>
                          <a:pt x="318" y="557"/>
                          <a:pt x="215" y="715"/>
                          <a:pt x="163" y="850"/>
                        </a:cubicBezTo>
                        <a:cubicBezTo>
                          <a:pt x="1" y="1251"/>
                          <a:pt x="9" y="1840"/>
                          <a:pt x="565" y="1878"/>
                        </a:cubicBezTo>
                        <a:cubicBezTo>
                          <a:pt x="575" y="1878"/>
                          <a:pt x="584" y="1879"/>
                          <a:pt x="594" y="1879"/>
                        </a:cubicBezTo>
                        <a:cubicBezTo>
                          <a:pt x="794" y="1879"/>
                          <a:pt x="1034" y="1749"/>
                          <a:pt x="1186" y="1602"/>
                        </a:cubicBezTo>
                        <a:cubicBezTo>
                          <a:pt x="1382" y="1410"/>
                          <a:pt x="1625" y="1061"/>
                          <a:pt x="1831" y="715"/>
                        </a:cubicBezTo>
                        <a:lnTo>
                          <a:pt x="1831" y="715"/>
                        </a:lnTo>
                        <a:cubicBezTo>
                          <a:pt x="1734" y="736"/>
                          <a:pt x="1644" y="746"/>
                          <a:pt x="1560" y="746"/>
                        </a:cubicBezTo>
                        <a:cubicBezTo>
                          <a:pt x="1037" y="746"/>
                          <a:pt x="768" y="351"/>
                          <a:pt x="63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3594;p75">
                    <a:extLst>
                      <a:ext uri="{FF2B5EF4-FFF2-40B4-BE49-F238E27FC236}">
                        <a16:creationId xmlns:a16="http://schemas.microsoft.com/office/drawing/2014/main" id="{6E026DFA-18B7-D534-FAC5-3621855F3FF3}"/>
                      </a:ext>
                    </a:extLst>
                  </p:cNvPr>
                  <p:cNvSpPr/>
                  <p:nvPr/>
                </p:nvSpPr>
                <p:spPr>
                  <a:xfrm>
                    <a:off x="2686950" y="4393816"/>
                    <a:ext cx="25747" cy="34654"/>
                  </a:xfrm>
                  <a:custGeom>
                    <a:avLst/>
                    <a:gdLst/>
                    <a:ahLst/>
                    <a:cxnLst/>
                    <a:rect l="l" t="t" r="r" b="b"/>
                    <a:pathLst>
                      <a:path w="552" h="743" extrusionOk="0">
                        <a:moveTo>
                          <a:pt x="552" y="56"/>
                        </a:moveTo>
                        <a:cubicBezTo>
                          <a:pt x="552" y="187"/>
                          <a:pt x="429" y="374"/>
                          <a:pt x="304" y="551"/>
                        </a:cubicBezTo>
                        <a:cubicBezTo>
                          <a:pt x="252" y="626"/>
                          <a:pt x="159" y="743"/>
                          <a:pt x="89" y="705"/>
                        </a:cubicBezTo>
                        <a:cubicBezTo>
                          <a:pt x="0" y="654"/>
                          <a:pt x="80" y="500"/>
                          <a:pt x="112" y="448"/>
                        </a:cubicBezTo>
                        <a:cubicBezTo>
                          <a:pt x="201" y="276"/>
                          <a:pt x="345" y="84"/>
                          <a:pt x="453" y="4"/>
                        </a:cubicBezTo>
                        <a:cubicBezTo>
                          <a:pt x="485" y="0"/>
                          <a:pt x="533" y="28"/>
                          <a:pt x="552" y="56"/>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3595;p75">
                    <a:extLst>
                      <a:ext uri="{FF2B5EF4-FFF2-40B4-BE49-F238E27FC236}">
                        <a16:creationId xmlns:a16="http://schemas.microsoft.com/office/drawing/2014/main" id="{D0E7D1B9-E66E-CA8E-87A4-8EB42E25743B}"/>
                      </a:ext>
                    </a:extLst>
                  </p:cNvPr>
                  <p:cNvSpPr/>
                  <p:nvPr/>
                </p:nvSpPr>
                <p:spPr>
                  <a:xfrm>
                    <a:off x="2698890" y="4424039"/>
                    <a:ext cx="19870" cy="22760"/>
                  </a:xfrm>
                  <a:custGeom>
                    <a:avLst/>
                    <a:gdLst/>
                    <a:ahLst/>
                    <a:cxnLst/>
                    <a:rect l="l" t="t" r="r" b="b"/>
                    <a:pathLst>
                      <a:path w="426" h="488" extrusionOk="0">
                        <a:moveTo>
                          <a:pt x="225" y="15"/>
                        </a:moveTo>
                        <a:cubicBezTo>
                          <a:pt x="426" y="80"/>
                          <a:pt x="212" y="487"/>
                          <a:pt x="67" y="389"/>
                        </a:cubicBezTo>
                        <a:cubicBezTo>
                          <a:pt x="1" y="347"/>
                          <a:pt x="33" y="108"/>
                          <a:pt x="117" y="34"/>
                        </a:cubicBezTo>
                        <a:cubicBezTo>
                          <a:pt x="145" y="6"/>
                          <a:pt x="193" y="1"/>
                          <a:pt x="225" y="15"/>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6" name="Google Shape;3596;p75">
                <a:extLst>
                  <a:ext uri="{FF2B5EF4-FFF2-40B4-BE49-F238E27FC236}">
                    <a16:creationId xmlns:a16="http://schemas.microsoft.com/office/drawing/2014/main" id="{5D2111A9-5A1D-EE32-2DC6-062BBC5FF6C4}"/>
                  </a:ext>
                </a:extLst>
              </p:cNvPr>
              <p:cNvGrpSpPr/>
              <p:nvPr/>
            </p:nvGrpSpPr>
            <p:grpSpPr>
              <a:xfrm rot="-4963344">
                <a:off x="5324344" y="1394586"/>
                <a:ext cx="213406" cy="280327"/>
                <a:chOff x="2664095" y="4343724"/>
                <a:chExt cx="111755" cy="146823"/>
              </a:xfrm>
            </p:grpSpPr>
            <p:sp>
              <p:nvSpPr>
                <p:cNvPr id="17" name="Google Shape;3597;p75">
                  <a:extLst>
                    <a:ext uri="{FF2B5EF4-FFF2-40B4-BE49-F238E27FC236}">
                      <a16:creationId xmlns:a16="http://schemas.microsoft.com/office/drawing/2014/main" id="{0B3A5890-BEB9-BD93-5694-0A867B89AE99}"/>
                    </a:ext>
                  </a:extLst>
                </p:cNvPr>
                <p:cNvSpPr/>
                <p:nvPr/>
              </p:nvSpPr>
              <p:spPr>
                <a:xfrm>
                  <a:off x="2664095" y="4343724"/>
                  <a:ext cx="111755" cy="146823"/>
                </a:xfrm>
                <a:custGeom>
                  <a:avLst/>
                  <a:gdLst/>
                  <a:ahLst/>
                  <a:cxnLst/>
                  <a:rect l="l" t="t" r="r" b="b"/>
                  <a:pathLst>
                    <a:path w="2396" h="3148" extrusionOk="0">
                      <a:moveTo>
                        <a:pt x="359" y="1733"/>
                      </a:moveTo>
                      <a:cubicBezTo>
                        <a:pt x="318" y="1813"/>
                        <a:pt x="215" y="1971"/>
                        <a:pt x="163" y="2106"/>
                      </a:cubicBezTo>
                      <a:cubicBezTo>
                        <a:pt x="1" y="2507"/>
                        <a:pt x="9" y="3096"/>
                        <a:pt x="565" y="3134"/>
                      </a:cubicBezTo>
                      <a:cubicBezTo>
                        <a:pt x="770" y="3147"/>
                        <a:pt x="1027" y="3012"/>
                        <a:pt x="1186" y="2858"/>
                      </a:cubicBezTo>
                      <a:cubicBezTo>
                        <a:pt x="1410" y="2643"/>
                        <a:pt x="1690" y="2223"/>
                        <a:pt x="1906" y="1835"/>
                      </a:cubicBezTo>
                      <a:cubicBezTo>
                        <a:pt x="2124" y="1443"/>
                        <a:pt x="2395" y="929"/>
                        <a:pt x="2386" y="630"/>
                      </a:cubicBezTo>
                      <a:cubicBezTo>
                        <a:pt x="2376" y="332"/>
                        <a:pt x="2139" y="0"/>
                        <a:pt x="1738" y="14"/>
                      </a:cubicBezTo>
                      <a:cubicBezTo>
                        <a:pt x="1368" y="28"/>
                        <a:pt x="1144" y="421"/>
                        <a:pt x="882" y="832"/>
                      </a:cubicBezTo>
                      <a:cubicBezTo>
                        <a:pt x="691" y="1135"/>
                        <a:pt x="533" y="1420"/>
                        <a:pt x="359" y="1733"/>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3598;p75">
                  <a:extLst>
                    <a:ext uri="{FF2B5EF4-FFF2-40B4-BE49-F238E27FC236}">
                      <a16:creationId xmlns:a16="http://schemas.microsoft.com/office/drawing/2014/main" id="{2B346F81-EA12-9F1A-305C-F3550FE2FF3E}"/>
                    </a:ext>
                  </a:extLst>
                </p:cNvPr>
                <p:cNvSpPr/>
                <p:nvPr/>
              </p:nvSpPr>
              <p:spPr>
                <a:xfrm>
                  <a:off x="2664095" y="4402304"/>
                  <a:ext cx="85402" cy="87637"/>
                </a:xfrm>
                <a:custGeom>
                  <a:avLst/>
                  <a:gdLst/>
                  <a:ahLst/>
                  <a:cxnLst/>
                  <a:rect l="l" t="t" r="r" b="b"/>
                  <a:pathLst>
                    <a:path w="1831" h="1879" extrusionOk="0">
                      <a:moveTo>
                        <a:pt x="630" y="1"/>
                      </a:moveTo>
                      <a:cubicBezTo>
                        <a:pt x="537" y="154"/>
                        <a:pt x="453" y="313"/>
                        <a:pt x="359" y="477"/>
                      </a:cubicBezTo>
                      <a:cubicBezTo>
                        <a:pt x="318" y="557"/>
                        <a:pt x="215" y="715"/>
                        <a:pt x="163" y="850"/>
                      </a:cubicBezTo>
                      <a:cubicBezTo>
                        <a:pt x="1" y="1251"/>
                        <a:pt x="9" y="1840"/>
                        <a:pt x="565" y="1878"/>
                      </a:cubicBezTo>
                      <a:cubicBezTo>
                        <a:pt x="575" y="1878"/>
                        <a:pt x="584" y="1879"/>
                        <a:pt x="594" y="1879"/>
                      </a:cubicBezTo>
                      <a:cubicBezTo>
                        <a:pt x="794" y="1879"/>
                        <a:pt x="1034" y="1749"/>
                        <a:pt x="1186" y="1602"/>
                      </a:cubicBezTo>
                      <a:cubicBezTo>
                        <a:pt x="1382" y="1410"/>
                        <a:pt x="1625" y="1061"/>
                        <a:pt x="1831" y="715"/>
                      </a:cubicBezTo>
                      <a:lnTo>
                        <a:pt x="1831" y="715"/>
                      </a:lnTo>
                      <a:cubicBezTo>
                        <a:pt x="1734" y="736"/>
                        <a:pt x="1644" y="746"/>
                        <a:pt x="1560" y="746"/>
                      </a:cubicBezTo>
                      <a:cubicBezTo>
                        <a:pt x="1037" y="746"/>
                        <a:pt x="768" y="351"/>
                        <a:pt x="63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3599;p75">
                  <a:extLst>
                    <a:ext uri="{FF2B5EF4-FFF2-40B4-BE49-F238E27FC236}">
                      <a16:creationId xmlns:a16="http://schemas.microsoft.com/office/drawing/2014/main" id="{11B95E17-19D2-ED29-6661-22DE4FE2B3DF}"/>
                    </a:ext>
                  </a:extLst>
                </p:cNvPr>
                <p:cNvSpPr/>
                <p:nvPr/>
              </p:nvSpPr>
              <p:spPr>
                <a:xfrm>
                  <a:off x="2686950" y="4393816"/>
                  <a:ext cx="25747" cy="34654"/>
                </a:xfrm>
                <a:custGeom>
                  <a:avLst/>
                  <a:gdLst/>
                  <a:ahLst/>
                  <a:cxnLst/>
                  <a:rect l="l" t="t" r="r" b="b"/>
                  <a:pathLst>
                    <a:path w="552" h="743" extrusionOk="0">
                      <a:moveTo>
                        <a:pt x="552" y="56"/>
                      </a:moveTo>
                      <a:cubicBezTo>
                        <a:pt x="552" y="187"/>
                        <a:pt x="429" y="374"/>
                        <a:pt x="304" y="551"/>
                      </a:cubicBezTo>
                      <a:cubicBezTo>
                        <a:pt x="252" y="626"/>
                        <a:pt x="159" y="743"/>
                        <a:pt x="89" y="705"/>
                      </a:cubicBezTo>
                      <a:cubicBezTo>
                        <a:pt x="0" y="654"/>
                        <a:pt x="80" y="500"/>
                        <a:pt x="112" y="448"/>
                      </a:cubicBezTo>
                      <a:cubicBezTo>
                        <a:pt x="201" y="276"/>
                        <a:pt x="345" y="84"/>
                        <a:pt x="453" y="4"/>
                      </a:cubicBezTo>
                      <a:cubicBezTo>
                        <a:pt x="485" y="0"/>
                        <a:pt x="533" y="28"/>
                        <a:pt x="552" y="56"/>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3600;p75">
                  <a:extLst>
                    <a:ext uri="{FF2B5EF4-FFF2-40B4-BE49-F238E27FC236}">
                      <a16:creationId xmlns:a16="http://schemas.microsoft.com/office/drawing/2014/main" id="{740E6C0B-C273-7FEE-45CA-9EEEF32018A1}"/>
                    </a:ext>
                  </a:extLst>
                </p:cNvPr>
                <p:cNvSpPr/>
                <p:nvPr/>
              </p:nvSpPr>
              <p:spPr>
                <a:xfrm>
                  <a:off x="2698890" y="4424039"/>
                  <a:ext cx="19870" cy="22760"/>
                </a:xfrm>
                <a:custGeom>
                  <a:avLst/>
                  <a:gdLst/>
                  <a:ahLst/>
                  <a:cxnLst/>
                  <a:rect l="l" t="t" r="r" b="b"/>
                  <a:pathLst>
                    <a:path w="426" h="488" extrusionOk="0">
                      <a:moveTo>
                        <a:pt x="225" y="15"/>
                      </a:moveTo>
                      <a:cubicBezTo>
                        <a:pt x="426" y="80"/>
                        <a:pt x="212" y="487"/>
                        <a:pt x="67" y="389"/>
                      </a:cubicBezTo>
                      <a:cubicBezTo>
                        <a:pt x="1" y="347"/>
                        <a:pt x="33" y="108"/>
                        <a:pt x="117" y="34"/>
                      </a:cubicBezTo>
                      <a:cubicBezTo>
                        <a:pt x="145" y="6"/>
                        <a:pt x="193" y="1"/>
                        <a:pt x="225" y="15"/>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extLst>
      <p:ext uri="{BB962C8B-B14F-4D97-AF65-F5344CB8AC3E}">
        <p14:creationId xmlns:p14="http://schemas.microsoft.com/office/powerpoint/2010/main" val="23286505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409224" y="237838"/>
            <a:ext cx="2887976" cy="590655"/>
            <a:chOff x="533402" y="492718"/>
            <a:chExt cx="2887976" cy="590655"/>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590930"/>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II. ĐIỀU TRỊ</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6656029" y="429837"/>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2" name="Hộp Văn bản 1">
            <a:extLst>
              <a:ext uri="{FF2B5EF4-FFF2-40B4-BE49-F238E27FC236}">
                <a16:creationId xmlns:a16="http://schemas.microsoft.com/office/drawing/2014/main" id="{2B255ED9-3C37-8ECB-B005-484B6C90F187}"/>
              </a:ext>
            </a:extLst>
          </p:cNvPr>
          <p:cNvSpPr txBox="1"/>
          <p:nvPr/>
        </p:nvSpPr>
        <p:spPr>
          <a:xfrm>
            <a:off x="947993" y="905943"/>
            <a:ext cx="10239023" cy="1477328"/>
          </a:xfrm>
          <a:prstGeom prst="rect">
            <a:avLst/>
          </a:prstGeom>
          <a:noFill/>
        </p:spPr>
        <p:txBody>
          <a:bodyPr wrap="square" rtlCol="0">
            <a:spAutoFit/>
          </a:bodyPr>
          <a:lstStyle/>
          <a:p>
            <a:r>
              <a:rPr lang="vi-VN">
                <a:latin typeface="Arial   (Body)"/>
              </a:rPr>
              <a:t>4. </a:t>
            </a:r>
            <a:r>
              <a:rPr lang="en-US" u="sng">
                <a:latin typeface="Arial   (Body)"/>
              </a:rPr>
              <a:t>Điều trị giảm nhẹ: </a:t>
            </a:r>
          </a:p>
          <a:p>
            <a:pPr marL="285750" indent="-285750">
              <a:buFontTx/>
              <a:buChar char="-"/>
            </a:pPr>
            <a:r>
              <a:rPr lang="en-US">
                <a:latin typeface="Arial   (Body)"/>
              </a:rPr>
              <a:t>Hóa trị. </a:t>
            </a:r>
          </a:p>
          <a:p>
            <a:pPr marL="285750" indent="-285750">
              <a:buFontTx/>
              <a:buChar char="-"/>
            </a:pPr>
            <a:r>
              <a:rPr lang="en-US">
                <a:latin typeface="Arial   (Body)"/>
              </a:rPr>
              <a:t>Giảm đau. </a:t>
            </a:r>
          </a:p>
          <a:p>
            <a:pPr marL="285750" indent="-285750">
              <a:buFontTx/>
              <a:buChar char="-"/>
            </a:pPr>
            <a:r>
              <a:rPr lang="en-US">
                <a:latin typeface="Arial   (Body)"/>
              </a:rPr>
              <a:t>Giải áp đường mật. </a:t>
            </a:r>
          </a:p>
          <a:p>
            <a:pPr marL="285750" indent="-285750">
              <a:buFontTx/>
              <a:buChar char="-"/>
            </a:pPr>
            <a:r>
              <a:rPr lang="en-US">
                <a:latin typeface="Arial   (Body)"/>
              </a:rPr>
              <a:t>Giải quyết hẹp đường thoát dạ dày: nối vị tràng.  </a:t>
            </a:r>
            <a:endParaRPr lang="vi-VN">
              <a:latin typeface="Arial   (Body)"/>
            </a:endParaRPr>
          </a:p>
        </p:txBody>
      </p:sp>
      <p:pic>
        <p:nvPicPr>
          <p:cNvPr id="4" name="Content Placeholder 3" descr="Diagram&#10;&#10;Description automatically generated">
            <a:extLst>
              <a:ext uri="{FF2B5EF4-FFF2-40B4-BE49-F238E27FC236}">
                <a16:creationId xmlns:a16="http://schemas.microsoft.com/office/drawing/2014/main" id="{D3C4646D-5AED-DD26-EDBB-5FF47B46CDC5}"/>
              </a:ext>
            </a:extLst>
          </p:cNvPr>
          <p:cNvPicPr>
            <a:picLocks noChangeAspect="1"/>
          </p:cNvPicPr>
          <p:nvPr/>
        </p:nvPicPr>
        <p:blipFill rotWithShape="1">
          <a:blip r:embed="rId3"/>
          <a:srcRect r="10223" b="1"/>
          <a:stretch/>
        </p:blipFill>
        <p:spPr>
          <a:xfrm>
            <a:off x="947993" y="2410853"/>
            <a:ext cx="7220728" cy="4061661"/>
          </a:xfrm>
          <a:prstGeom prst="rect">
            <a:avLst/>
          </a:prstGeom>
          <a:noFill/>
        </p:spPr>
      </p:pic>
      <p:pic>
        <p:nvPicPr>
          <p:cNvPr id="5" name="Content Placeholder 4" descr="A picture containing pink, dessert&#10;&#10;Description automatically generated">
            <a:extLst>
              <a:ext uri="{FF2B5EF4-FFF2-40B4-BE49-F238E27FC236}">
                <a16:creationId xmlns:a16="http://schemas.microsoft.com/office/drawing/2014/main" id="{8F83EC1F-56FD-DDCC-86E5-A4B368201D3A}"/>
              </a:ext>
            </a:extLst>
          </p:cNvPr>
          <p:cNvPicPr>
            <a:picLocks noChangeAspect="1"/>
          </p:cNvPicPr>
          <p:nvPr/>
        </p:nvPicPr>
        <p:blipFill>
          <a:blip r:embed="rId4"/>
          <a:stretch>
            <a:fillRect/>
          </a:stretch>
        </p:blipFill>
        <p:spPr>
          <a:xfrm>
            <a:off x="8168720" y="2407307"/>
            <a:ext cx="2939143" cy="4089243"/>
          </a:xfrm>
          <a:prstGeom prst="rect">
            <a:avLst/>
          </a:prstGeom>
        </p:spPr>
      </p:pic>
      <p:grpSp>
        <p:nvGrpSpPr>
          <p:cNvPr id="6" name="Nhóm 5">
            <a:extLst>
              <a:ext uri="{FF2B5EF4-FFF2-40B4-BE49-F238E27FC236}">
                <a16:creationId xmlns:a16="http://schemas.microsoft.com/office/drawing/2014/main" id="{1D4BCA1E-322C-F310-31DB-7C4E1BCBF1E6}"/>
              </a:ext>
            </a:extLst>
          </p:cNvPr>
          <p:cNvGrpSpPr/>
          <p:nvPr/>
        </p:nvGrpSpPr>
        <p:grpSpPr>
          <a:xfrm>
            <a:off x="669315" y="828493"/>
            <a:ext cx="278677" cy="1825804"/>
            <a:chOff x="706752" y="1726713"/>
            <a:chExt cx="278677" cy="1825804"/>
          </a:xfrm>
        </p:grpSpPr>
        <p:cxnSp>
          <p:nvCxnSpPr>
            <p:cNvPr id="9" name="Đường nối Thẳng 8">
              <a:extLst>
                <a:ext uri="{FF2B5EF4-FFF2-40B4-BE49-F238E27FC236}">
                  <a16:creationId xmlns:a16="http://schemas.microsoft.com/office/drawing/2014/main" id="{F3BE4E5E-A2DA-5E9C-DCE4-04CDBEAFB006}"/>
                </a:ext>
              </a:extLst>
            </p:cNvPr>
            <p:cNvCxnSpPr>
              <a:cxnSpLocks/>
            </p:cNvCxnSpPr>
            <p:nvPr/>
          </p:nvCxnSpPr>
          <p:spPr>
            <a:xfrm>
              <a:off x="846090" y="1726713"/>
              <a:ext cx="0" cy="1825804"/>
            </a:xfrm>
            <a:prstGeom prst="line">
              <a:avLst/>
            </a:prstGeom>
          </p:spPr>
          <p:style>
            <a:lnRef idx="1">
              <a:schemeClr val="accent2"/>
            </a:lnRef>
            <a:fillRef idx="0">
              <a:schemeClr val="accent2"/>
            </a:fillRef>
            <a:effectRef idx="0">
              <a:schemeClr val="accent2"/>
            </a:effectRef>
            <a:fontRef idx="minor">
              <a:schemeClr val="tx1"/>
            </a:fontRef>
          </p:style>
        </p:cxnSp>
        <p:sp>
          <p:nvSpPr>
            <p:cNvPr id="10" name="TextBox 116">
              <a:extLst>
                <a:ext uri="{FF2B5EF4-FFF2-40B4-BE49-F238E27FC236}">
                  <a16:creationId xmlns:a16="http://schemas.microsoft.com/office/drawing/2014/main" id="{18F516DB-97A3-4817-7B81-742976A03ABB}"/>
                </a:ext>
              </a:extLst>
            </p:cNvPr>
            <p:cNvSpPr txBox="1"/>
            <p:nvPr/>
          </p:nvSpPr>
          <p:spPr>
            <a:xfrm>
              <a:off x="706752" y="1860824"/>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17690344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533402" y="492718"/>
            <a:ext cx="2887976" cy="965827"/>
            <a:chOff x="533402" y="492718"/>
            <a:chExt cx="2887976" cy="965827"/>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TIÊN LƯỢNG</a:t>
              </a:r>
            </a:p>
          </p:txBody>
        </p:sp>
      </p:grpSp>
      <p:grpSp>
        <p:nvGrpSpPr>
          <p:cNvPr id="185" name="Group 184">
            <a:extLst>
              <a:ext uri="{FF2B5EF4-FFF2-40B4-BE49-F238E27FC236}">
                <a16:creationId xmlns:a16="http://schemas.microsoft.com/office/drawing/2014/main" id="{8ED9B3ED-7120-4603-8CCD-E00D81660B0D}"/>
              </a:ext>
            </a:extLst>
          </p:cNvPr>
          <p:cNvGrpSpPr/>
          <p:nvPr/>
        </p:nvGrpSpPr>
        <p:grpSpPr>
          <a:xfrm>
            <a:off x="6656029" y="429837"/>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
        <p:nvSpPr>
          <p:cNvPr id="2" name="Hộp Văn bản 1">
            <a:extLst>
              <a:ext uri="{FF2B5EF4-FFF2-40B4-BE49-F238E27FC236}">
                <a16:creationId xmlns:a16="http://schemas.microsoft.com/office/drawing/2014/main" id="{181BF466-675B-4C91-E945-C6343C6128B9}"/>
              </a:ext>
            </a:extLst>
          </p:cNvPr>
          <p:cNvSpPr txBox="1"/>
          <p:nvPr/>
        </p:nvSpPr>
        <p:spPr>
          <a:xfrm>
            <a:off x="2335671" y="1736914"/>
            <a:ext cx="7520657" cy="4154984"/>
          </a:xfrm>
          <a:prstGeom prst="rect">
            <a:avLst/>
          </a:prstGeom>
          <a:gradFill flip="none" rotWithShape="0">
            <a:gsLst>
              <a:gs pos="10000">
                <a:schemeClr val="bg1">
                  <a:lumMod val="85000"/>
                  <a:alpha val="13000"/>
                </a:schemeClr>
              </a:gs>
              <a:gs pos="100000">
                <a:schemeClr val="bg1">
                  <a:lumMod val="95000"/>
                  <a:alpha val="50000"/>
                </a:schemeClr>
              </a:gs>
            </a:gsLst>
            <a:lin ang="2700000" scaled="0"/>
            <a:tileRect/>
          </a:gradFill>
        </p:spPr>
        <p:txBody>
          <a:bodyPr wrap="square" rtlCol="0">
            <a:spAutoFit/>
          </a:bodyPr>
          <a:lstStyle/>
          <a:p>
            <a:r>
              <a:rPr lang="vi-VN" sz="2400"/>
              <a:t>Tỷ lệ sống còn 5 năm với K quanh bóng Vater có khả năng thủ thuật triệt để:</a:t>
            </a:r>
          </a:p>
          <a:p>
            <a:r>
              <a:rPr lang="vi-VN" sz="2400"/>
              <a:t>	K đầu tuỵ, K bóng vater: 15%</a:t>
            </a:r>
          </a:p>
          <a:p>
            <a:r>
              <a:rPr lang="vi-VN" sz="2400"/>
              <a:t>	K đoạn cuối ống mật chủ: 27%</a:t>
            </a:r>
          </a:p>
          <a:p>
            <a:r>
              <a:rPr lang="vi-VN" sz="2400"/>
              <a:t>	K tá tràng: 59%</a:t>
            </a:r>
          </a:p>
          <a:p>
            <a:r>
              <a:rPr lang="vi-VN" sz="2400"/>
              <a:t>Tỷ lệ sống còn 10 năm với K quanh bóng vater khả năng thủ thuật triệt để:</a:t>
            </a:r>
          </a:p>
          <a:p>
            <a:r>
              <a:rPr lang="vi-VN" sz="2400"/>
              <a:t>	K tuỵ: 5%</a:t>
            </a:r>
          </a:p>
          <a:p>
            <a:r>
              <a:rPr lang="vi-VN" sz="2400"/>
              <a:t>	K bóng vater: 25%</a:t>
            </a:r>
          </a:p>
          <a:p>
            <a:r>
              <a:rPr lang="vi-VN" sz="2400"/>
              <a:t>	K đoạn cuối ống mật chủ: 21%</a:t>
            </a:r>
          </a:p>
          <a:p>
            <a:r>
              <a:rPr lang="vi-VN" sz="2400"/>
              <a:t>	K tá tràng: 59%</a:t>
            </a:r>
          </a:p>
        </p:txBody>
      </p:sp>
    </p:spTree>
    <p:extLst>
      <p:ext uri="{BB962C8B-B14F-4D97-AF65-F5344CB8AC3E}">
        <p14:creationId xmlns:p14="http://schemas.microsoft.com/office/powerpoint/2010/main" val="48956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0A27ABDB-8549-4CFC-8E4E-B98508D1A959}"/>
              </a:ext>
            </a:extLst>
          </p:cNvPr>
          <p:cNvSpPr/>
          <p:nvPr/>
        </p:nvSpPr>
        <p:spPr>
          <a:xfrm rot="10800000">
            <a:off x="6046770" y="-55268"/>
            <a:ext cx="6145230"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5" name="Freeform: Shape 14">
            <a:extLst>
              <a:ext uri="{FF2B5EF4-FFF2-40B4-BE49-F238E27FC236}">
                <a16:creationId xmlns:a16="http://schemas.microsoft.com/office/drawing/2014/main" id="{ACE311CC-2A7E-4437-A2BA-54D6597BDD16}"/>
              </a:ext>
            </a:extLst>
          </p:cNvPr>
          <p:cNvSpPr/>
          <p:nvPr/>
        </p:nvSpPr>
        <p:spPr>
          <a:xfrm>
            <a:off x="2" y="4435701"/>
            <a:ext cx="1124501" cy="2422299"/>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85" name="Group 184">
            <a:extLst>
              <a:ext uri="{FF2B5EF4-FFF2-40B4-BE49-F238E27FC236}">
                <a16:creationId xmlns:a16="http://schemas.microsoft.com/office/drawing/2014/main" id="{8ED9B3ED-7120-4603-8CCD-E00D81660B0D}"/>
              </a:ext>
            </a:extLst>
          </p:cNvPr>
          <p:cNvGrpSpPr/>
          <p:nvPr/>
        </p:nvGrpSpPr>
        <p:grpSpPr>
          <a:xfrm>
            <a:off x="8771464" y="2111569"/>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sz="2800">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sz="2800">
                <a:latin typeface="Arial" panose="020B0604020202020204" pitchFamily="34" charset="0"/>
                <a:cs typeface="Arial" panose="020B0604020202020204" pitchFamily="34" charset="0"/>
              </a:endParaRPr>
            </a:p>
          </p:txBody>
        </p:sp>
      </p:grpSp>
      <p:sp>
        <p:nvSpPr>
          <p:cNvPr id="21" name="Google Shape;2160;p49">
            <a:extLst>
              <a:ext uri="{FF2B5EF4-FFF2-40B4-BE49-F238E27FC236}">
                <a16:creationId xmlns:a16="http://schemas.microsoft.com/office/drawing/2014/main" id="{E84861DD-27A9-3687-9840-F0E0A8BDBC10}"/>
              </a:ext>
            </a:extLst>
          </p:cNvPr>
          <p:cNvSpPr txBox="1">
            <a:spLocks/>
          </p:cNvSpPr>
          <p:nvPr/>
        </p:nvSpPr>
        <p:spPr>
          <a:xfrm>
            <a:off x="1052463" y="2791320"/>
            <a:ext cx="2336400" cy="1259838"/>
          </a:xfrm>
          <a:prstGeom prst="rect">
            <a:avLst/>
          </a:prstGeom>
        </p:spPr>
        <p:txBody>
          <a:bodyPr spcFirstLastPara="1" vert="horz" wrap="square" lIns="91425" tIns="91425" rIns="91425" bIns="91425" rtlCol="0" anchor="ctr" anchorCtr="0">
            <a:noAutofit/>
          </a:bodyPr>
          <a:lstStyle>
            <a:lvl1pPr algn="l" defTabSz="457200" rtl="0" eaLnBrk="1" latinLnBrk="0" hangingPunct="1">
              <a:spcBef>
                <a:spcPct val="0"/>
              </a:spcBef>
              <a:buNone/>
              <a:defRPr sz="4200" b="0" i="0" kern="1200">
                <a:solidFill>
                  <a:schemeClr val="tx2"/>
                </a:solidFill>
                <a:latin typeface="Times  New Roman"/>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spcBef>
                <a:spcPts val="0"/>
              </a:spcBef>
            </a:pPr>
            <a:r>
              <a:rPr lang="vi-VN" sz="2800">
                <a:solidFill>
                  <a:schemeClr val="tx1"/>
                </a:solidFill>
                <a:latin typeface="Arial" panose="020B0604020202020204" pitchFamily="34" charset="0"/>
                <a:cs typeface="Arial" panose="020B0604020202020204" pitchFamily="34" charset="0"/>
              </a:rPr>
              <a:t>Ung thư đầu tuỵ</a:t>
            </a:r>
          </a:p>
        </p:txBody>
      </p:sp>
      <p:sp>
        <p:nvSpPr>
          <p:cNvPr id="22" name="Google Shape;2162;p49">
            <a:extLst>
              <a:ext uri="{FF2B5EF4-FFF2-40B4-BE49-F238E27FC236}">
                <a16:creationId xmlns:a16="http://schemas.microsoft.com/office/drawing/2014/main" id="{47655815-FD53-83CF-A28E-AD5ED7FB8FE3}"/>
              </a:ext>
            </a:extLst>
          </p:cNvPr>
          <p:cNvSpPr txBox="1">
            <a:spLocks/>
          </p:cNvSpPr>
          <p:nvPr/>
        </p:nvSpPr>
        <p:spPr>
          <a:xfrm>
            <a:off x="4256948" y="2214715"/>
            <a:ext cx="3029495" cy="2488381"/>
          </a:xfrm>
          <a:prstGeom prst="rect">
            <a:avLst/>
          </a:prstGeom>
        </p:spPr>
        <p:txBody>
          <a:bodyPr spcFirstLastPara="1" wrap="square" lIns="91425" tIns="91425" rIns="91425" bIns="91425" anchor="ctr" anchorCtr="0">
            <a:noAutofit/>
          </a:bodyPr>
          <a:lstStyle>
            <a:lvl1pPr algn="l" defTabSz="457200" rtl="0" eaLnBrk="1" latinLnBrk="0" hangingPunct="1">
              <a:spcBef>
                <a:spcPct val="0"/>
              </a:spcBef>
              <a:buNone/>
              <a:defRPr sz="4200" b="0" i="0" kern="1200">
                <a:solidFill>
                  <a:schemeClr val="tx2"/>
                </a:solidFill>
                <a:latin typeface="Times  New Roman"/>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spcBef>
                <a:spcPts val="0"/>
              </a:spcBef>
            </a:pPr>
            <a:r>
              <a:rPr lang="vi-VN" sz="2800">
                <a:solidFill>
                  <a:schemeClr val="tx1"/>
                </a:solidFill>
                <a:latin typeface="Arial" panose="020B0604020202020204" pitchFamily="34" charset="0"/>
                <a:cs typeface="Arial" panose="020B0604020202020204" pitchFamily="34" charset="0"/>
              </a:rPr>
              <a:t>Ung thư bóng vater và ung thư tá tràng</a:t>
            </a:r>
          </a:p>
        </p:txBody>
      </p:sp>
      <p:sp>
        <p:nvSpPr>
          <p:cNvPr id="23" name="Google Shape;2164;p49">
            <a:extLst>
              <a:ext uri="{FF2B5EF4-FFF2-40B4-BE49-F238E27FC236}">
                <a16:creationId xmlns:a16="http://schemas.microsoft.com/office/drawing/2014/main" id="{3C20B8E2-30D2-3261-B8CE-59A1A14E54DF}"/>
              </a:ext>
            </a:extLst>
          </p:cNvPr>
          <p:cNvSpPr txBox="1">
            <a:spLocks/>
          </p:cNvSpPr>
          <p:nvPr/>
        </p:nvSpPr>
        <p:spPr>
          <a:xfrm>
            <a:off x="8172688" y="3347163"/>
            <a:ext cx="2336400" cy="527700"/>
          </a:xfrm>
          <a:prstGeom prst="rect">
            <a:avLst/>
          </a:prstGeom>
        </p:spPr>
        <p:txBody>
          <a:bodyPr spcFirstLastPara="1" wrap="square" lIns="91425" tIns="91425" rIns="91425" bIns="91425" anchor="ctr" anchorCtr="0">
            <a:noAutofit/>
          </a:bodyPr>
          <a:lstStyle>
            <a:lvl1pPr algn="l" defTabSz="457200" rtl="0" eaLnBrk="1" latinLnBrk="0" hangingPunct="1">
              <a:spcBef>
                <a:spcPct val="0"/>
              </a:spcBef>
              <a:buNone/>
              <a:defRPr sz="4200" b="0" i="0" kern="1200">
                <a:solidFill>
                  <a:schemeClr val="tx2"/>
                </a:solidFill>
                <a:latin typeface="Times  New Roman"/>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spcBef>
                <a:spcPts val="0"/>
              </a:spcBef>
            </a:pPr>
            <a:r>
              <a:rPr lang="vi-VN" sz="2800">
                <a:solidFill>
                  <a:schemeClr val="tx1"/>
                </a:solidFill>
                <a:latin typeface="Arial" panose="020B0604020202020204" pitchFamily="34" charset="0"/>
                <a:cs typeface="Arial" panose="020B0604020202020204" pitchFamily="34" charset="0"/>
              </a:rPr>
              <a:t>Ung thư đoạn cuối OMC</a:t>
            </a:r>
          </a:p>
        </p:txBody>
      </p:sp>
      <p:sp>
        <p:nvSpPr>
          <p:cNvPr id="24" name="Google Shape;2165;p49">
            <a:extLst>
              <a:ext uri="{FF2B5EF4-FFF2-40B4-BE49-F238E27FC236}">
                <a16:creationId xmlns:a16="http://schemas.microsoft.com/office/drawing/2014/main" id="{6A2D7DBE-D958-102D-A72B-F32738BFE758}"/>
              </a:ext>
            </a:extLst>
          </p:cNvPr>
          <p:cNvSpPr/>
          <p:nvPr/>
        </p:nvSpPr>
        <p:spPr>
          <a:xfrm>
            <a:off x="1829463" y="1968739"/>
            <a:ext cx="782400" cy="782400"/>
          </a:xfrm>
          <a:prstGeom prst="ellipse">
            <a:avLst/>
          </a:prstGeom>
          <a:no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ID" sz="2800">
              <a:latin typeface="Arial" panose="020B0604020202020204" pitchFamily="34" charset="0"/>
              <a:cs typeface="Arial" panose="020B0604020202020204" pitchFamily="34" charset="0"/>
            </a:endParaRPr>
          </a:p>
        </p:txBody>
      </p:sp>
      <p:sp>
        <p:nvSpPr>
          <p:cNvPr id="25" name="Google Shape;2168;p49">
            <a:extLst>
              <a:ext uri="{FF2B5EF4-FFF2-40B4-BE49-F238E27FC236}">
                <a16:creationId xmlns:a16="http://schemas.microsoft.com/office/drawing/2014/main" id="{791D3839-5A11-BF85-B154-4DE86255A609}"/>
              </a:ext>
            </a:extLst>
          </p:cNvPr>
          <p:cNvSpPr/>
          <p:nvPr/>
        </p:nvSpPr>
        <p:spPr>
          <a:xfrm>
            <a:off x="5386875" y="1968739"/>
            <a:ext cx="782400" cy="782400"/>
          </a:xfrm>
          <a:prstGeom prst="ellipse">
            <a:avLst/>
          </a:prstGeom>
          <a:no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ID" sz="2800">
              <a:latin typeface="Arial" panose="020B0604020202020204" pitchFamily="34" charset="0"/>
              <a:cs typeface="Arial" panose="020B0604020202020204" pitchFamily="34" charset="0"/>
            </a:endParaRPr>
          </a:p>
        </p:txBody>
      </p:sp>
      <p:sp>
        <p:nvSpPr>
          <p:cNvPr id="26" name="Google Shape;2169;p49">
            <a:extLst>
              <a:ext uri="{FF2B5EF4-FFF2-40B4-BE49-F238E27FC236}">
                <a16:creationId xmlns:a16="http://schemas.microsoft.com/office/drawing/2014/main" id="{73523794-4415-023A-5092-82BB31203868}"/>
              </a:ext>
            </a:extLst>
          </p:cNvPr>
          <p:cNvSpPr/>
          <p:nvPr/>
        </p:nvSpPr>
        <p:spPr>
          <a:xfrm>
            <a:off x="8949688" y="1968739"/>
            <a:ext cx="782400" cy="782400"/>
          </a:xfrm>
          <a:prstGeom prst="ellipse">
            <a:avLst/>
          </a:prstGeom>
          <a:no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ID" sz="2800">
              <a:latin typeface="Arial" panose="020B0604020202020204" pitchFamily="34" charset="0"/>
              <a:cs typeface="Arial" panose="020B0604020202020204" pitchFamily="34" charset="0"/>
            </a:endParaRPr>
          </a:p>
        </p:txBody>
      </p:sp>
      <p:sp>
        <p:nvSpPr>
          <p:cNvPr id="27" name="TextBox 17">
            <a:extLst>
              <a:ext uri="{FF2B5EF4-FFF2-40B4-BE49-F238E27FC236}">
                <a16:creationId xmlns:a16="http://schemas.microsoft.com/office/drawing/2014/main" id="{81E7DBC4-6E9E-378C-CDBF-905A0DFBEA08}"/>
              </a:ext>
            </a:extLst>
          </p:cNvPr>
          <p:cNvSpPr txBox="1"/>
          <p:nvPr/>
        </p:nvSpPr>
        <p:spPr>
          <a:xfrm>
            <a:off x="1951136" y="2126665"/>
            <a:ext cx="585417" cy="523220"/>
          </a:xfrm>
          <a:prstGeom prst="rect">
            <a:avLst/>
          </a:prstGeom>
          <a:noFill/>
        </p:spPr>
        <p:txBody>
          <a:bodyPr wrap="none" rtlCol="0">
            <a:spAutoFit/>
          </a:bodyPr>
          <a:lstStyle/>
          <a:p>
            <a:r>
              <a:rPr lang="en-VN" sz="2800" b="1">
                <a:solidFill>
                  <a:schemeClr val="tx1"/>
                </a:solidFill>
                <a:latin typeface="Arial" panose="020B0604020202020204" pitchFamily="34" charset="0"/>
                <a:ea typeface="Open Sans"/>
                <a:cs typeface="Arial" panose="020B0604020202020204" pitchFamily="34" charset="0"/>
                <a:sym typeface="Open Sans"/>
              </a:rPr>
              <a:t>01</a:t>
            </a:r>
          </a:p>
        </p:txBody>
      </p:sp>
      <p:sp>
        <p:nvSpPr>
          <p:cNvPr id="28" name="TextBox 18">
            <a:extLst>
              <a:ext uri="{FF2B5EF4-FFF2-40B4-BE49-F238E27FC236}">
                <a16:creationId xmlns:a16="http://schemas.microsoft.com/office/drawing/2014/main" id="{DC05FE29-FDD8-77D9-F61D-B492FE5FB87E}"/>
              </a:ext>
            </a:extLst>
          </p:cNvPr>
          <p:cNvSpPr txBox="1"/>
          <p:nvPr/>
        </p:nvSpPr>
        <p:spPr>
          <a:xfrm>
            <a:off x="5496619" y="2138152"/>
            <a:ext cx="585417" cy="523220"/>
          </a:xfrm>
          <a:prstGeom prst="rect">
            <a:avLst/>
          </a:prstGeom>
          <a:noFill/>
        </p:spPr>
        <p:txBody>
          <a:bodyPr wrap="none" rtlCol="0">
            <a:spAutoFit/>
          </a:bodyPr>
          <a:lstStyle/>
          <a:p>
            <a:r>
              <a:rPr lang="en-VN" sz="2800" b="1">
                <a:solidFill>
                  <a:schemeClr val="tx1"/>
                </a:solidFill>
                <a:latin typeface="Arial" panose="020B0604020202020204" pitchFamily="34" charset="0"/>
                <a:ea typeface="Open Sans"/>
                <a:cs typeface="Arial" panose="020B0604020202020204" pitchFamily="34" charset="0"/>
                <a:sym typeface="Open Sans"/>
              </a:rPr>
              <a:t>02</a:t>
            </a:r>
          </a:p>
        </p:txBody>
      </p:sp>
      <p:sp>
        <p:nvSpPr>
          <p:cNvPr id="29" name="TextBox 19">
            <a:extLst>
              <a:ext uri="{FF2B5EF4-FFF2-40B4-BE49-F238E27FC236}">
                <a16:creationId xmlns:a16="http://schemas.microsoft.com/office/drawing/2014/main" id="{7DA5C00E-6260-DB7A-843F-208D9186C42C}"/>
              </a:ext>
            </a:extLst>
          </p:cNvPr>
          <p:cNvSpPr txBox="1"/>
          <p:nvPr/>
        </p:nvSpPr>
        <p:spPr>
          <a:xfrm>
            <a:off x="9065812" y="2138152"/>
            <a:ext cx="585417" cy="523220"/>
          </a:xfrm>
          <a:prstGeom prst="rect">
            <a:avLst/>
          </a:prstGeom>
          <a:noFill/>
        </p:spPr>
        <p:txBody>
          <a:bodyPr wrap="none" rtlCol="0">
            <a:spAutoFit/>
          </a:bodyPr>
          <a:lstStyle/>
          <a:p>
            <a:r>
              <a:rPr lang="en-VN" sz="2800" b="1">
                <a:solidFill>
                  <a:schemeClr val="tx1"/>
                </a:solidFill>
                <a:latin typeface="Arial" panose="020B0604020202020204" pitchFamily="34" charset="0"/>
                <a:ea typeface="Open Sans"/>
                <a:cs typeface="Arial" panose="020B0604020202020204" pitchFamily="34" charset="0"/>
                <a:sym typeface="Open Sans"/>
              </a:rPr>
              <a:t>03</a:t>
            </a:r>
          </a:p>
        </p:txBody>
      </p:sp>
      <p:sp>
        <p:nvSpPr>
          <p:cNvPr id="30" name="Google Shape;3544;p75">
            <a:extLst>
              <a:ext uri="{FF2B5EF4-FFF2-40B4-BE49-F238E27FC236}">
                <a16:creationId xmlns:a16="http://schemas.microsoft.com/office/drawing/2014/main" id="{5502BA3E-91D8-CA56-E1E5-C7F30BE644E2}"/>
              </a:ext>
            </a:extLst>
          </p:cNvPr>
          <p:cNvSpPr/>
          <p:nvPr/>
        </p:nvSpPr>
        <p:spPr>
          <a:xfrm>
            <a:off x="8172687" y="1832149"/>
            <a:ext cx="2377420" cy="2793449"/>
          </a:xfrm>
          <a:custGeom>
            <a:avLst/>
            <a:gdLst/>
            <a:ahLst/>
            <a:cxnLst/>
            <a:rect l="l" t="t" r="r" b="b"/>
            <a:pathLst>
              <a:path w="155698" h="154025" extrusionOk="0">
                <a:moveTo>
                  <a:pt x="93462" y="8032"/>
                </a:moveTo>
                <a:cubicBezTo>
                  <a:pt x="101617" y="9636"/>
                  <a:pt x="114584" y="5620"/>
                  <a:pt x="120332" y="9636"/>
                </a:cubicBezTo>
                <a:cubicBezTo>
                  <a:pt x="126080" y="13652"/>
                  <a:pt x="123741" y="26515"/>
                  <a:pt x="127952" y="32130"/>
                </a:cubicBezTo>
                <a:cubicBezTo>
                  <a:pt x="132163" y="37745"/>
                  <a:pt x="142390" y="37024"/>
                  <a:pt x="145598" y="43325"/>
                </a:cubicBezTo>
                <a:cubicBezTo>
                  <a:pt x="148807" y="49626"/>
                  <a:pt x="145545" y="61199"/>
                  <a:pt x="147203" y="69935"/>
                </a:cubicBezTo>
                <a:cubicBezTo>
                  <a:pt x="148861" y="78672"/>
                  <a:pt x="156895" y="88050"/>
                  <a:pt x="155545" y="95744"/>
                </a:cubicBezTo>
                <a:cubicBezTo>
                  <a:pt x="154195" y="103438"/>
                  <a:pt x="143166" y="109063"/>
                  <a:pt x="139102" y="116101"/>
                </a:cubicBezTo>
                <a:cubicBezTo>
                  <a:pt x="135038" y="123139"/>
                  <a:pt x="136763" y="134060"/>
                  <a:pt x="131161" y="137973"/>
                </a:cubicBezTo>
                <a:cubicBezTo>
                  <a:pt x="125560" y="141886"/>
                  <a:pt x="115386" y="136903"/>
                  <a:pt x="105493" y="139577"/>
                </a:cubicBezTo>
                <a:cubicBezTo>
                  <a:pt x="95600" y="142251"/>
                  <a:pt x="82433" y="154416"/>
                  <a:pt x="71805" y="154015"/>
                </a:cubicBezTo>
                <a:cubicBezTo>
                  <a:pt x="61177" y="153614"/>
                  <a:pt x="51886" y="141449"/>
                  <a:pt x="41726" y="137171"/>
                </a:cubicBezTo>
                <a:cubicBezTo>
                  <a:pt x="31566" y="132893"/>
                  <a:pt x="15872" y="135980"/>
                  <a:pt x="10845" y="128348"/>
                </a:cubicBezTo>
                <a:cubicBezTo>
                  <a:pt x="5819" y="120717"/>
                  <a:pt x="13372" y="102344"/>
                  <a:pt x="11567" y="91382"/>
                </a:cubicBezTo>
                <a:cubicBezTo>
                  <a:pt x="9762" y="80420"/>
                  <a:pt x="-465" y="70572"/>
                  <a:pt x="16" y="62575"/>
                </a:cubicBezTo>
                <a:cubicBezTo>
                  <a:pt x="497" y="54578"/>
                  <a:pt x="11380" y="51623"/>
                  <a:pt x="14455" y="43398"/>
                </a:cubicBezTo>
                <a:cubicBezTo>
                  <a:pt x="17530" y="35173"/>
                  <a:pt x="12650" y="18801"/>
                  <a:pt x="18465" y="13227"/>
                </a:cubicBezTo>
                <a:cubicBezTo>
                  <a:pt x="24280" y="7653"/>
                  <a:pt x="40523" y="12159"/>
                  <a:pt x="49346" y="9956"/>
                </a:cubicBezTo>
                <a:cubicBezTo>
                  <a:pt x="58169" y="7753"/>
                  <a:pt x="64051" y="332"/>
                  <a:pt x="71404" y="11"/>
                </a:cubicBezTo>
                <a:cubicBezTo>
                  <a:pt x="78757" y="-310"/>
                  <a:pt x="85307" y="6428"/>
                  <a:pt x="93462" y="8032"/>
                </a:cubicBezTo>
                <a:close/>
              </a:path>
            </a:pathLst>
          </a:custGeom>
          <a:solidFill>
            <a:srgbClr val="5D74FF">
              <a:alpha val="25000"/>
            </a:srgbClr>
          </a:solidFill>
          <a:ln>
            <a:noFill/>
          </a:ln>
        </p:spPr>
      </p:sp>
      <p:sp>
        <p:nvSpPr>
          <p:cNvPr id="31" name="Google Shape;3544;p75">
            <a:extLst>
              <a:ext uri="{FF2B5EF4-FFF2-40B4-BE49-F238E27FC236}">
                <a16:creationId xmlns:a16="http://schemas.microsoft.com/office/drawing/2014/main" id="{7708684C-3187-2E00-2438-DF78FD264004}"/>
              </a:ext>
            </a:extLst>
          </p:cNvPr>
          <p:cNvSpPr/>
          <p:nvPr/>
        </p:nvSpPr>
        <p:spPr>
          <a:xfrm>
            <a:off x="4483450" y="1909591"/>
            <a:ext cx="2642506" cy="2725787"/>
          </a:xfrm>
          <a:custGeom>
            <a:avLst/>
            <a:gdLst/>
            <a:ahLst/>
            <a:cxnLst/>
            <a:rect l="l" t="t" r="r" b="b"/>
            <a:pathLst>
              <a:path w="155698" h="154025" extrusionOk="0">
                <a:moveTo>
                  <a:pt x="93462" y="8032"/>
                </a:moveTo>
                <a:cubicBezTo>
                  <a:pt x="101617" y="9636"/>
                  <a:pt x="114584" y="5620"/>
                  <a:pt x="120332" y="9636"/>
                </a:cubicBezTo>
                <a:cubicBezTo>
                  <a:pt x="126080" y="13652"/>
                  <a:pt x="123741" y="26515"/>
                  <a:pt x="127952" y="32130"/>
                </a:cubicBezTo>
                <a:cubicBezTo>
                  <a:pt x="132163" y="37745"/>
                  <a:pt x="142390" y="37024"/>
                  <a:pt x="145598" y="43325"/>
                </a:cubicBezTo>
                <a:cubicBezTo>
                  <a:pt x="148807" y="49626"/>
                  <a:pt x="145545" y="61199"/>
                  <a:pt x="147203" y="69935"/>
                </a:cubicBezTo>
                <a:cubicBezTo>
                  <a:pt x="148861" y="78672"/>
                  <a:pt x="156895" y="88050"/>
                  <a:pt x="155545" y="95744"/>
                </a:cubicBezTo>
                <a:cubicBezTo>
                  <a:pt x="154195" y="103438"/>
                  <a:pt x="143166" y="109063"/>
                  <a:pt x="139102" y="116101"/>
                </a:cubicBezTo>
                <a:cubicBezTo>
                  <a:pt x="135038" y="123139"/>
                  <a:pt x="136763" y="134060"/>
                  <a:pt x="131161" y="137973"/>
                </a:cubicBezTo>
                <a:cubicBezTo>
                  <a:pt x="125560" y="141886"/>
                  <a:pt x="115386" y="136903"/>
                  <a:pt x="105493" y="139577"/>
                </a:cubicBezTo>
                <a:cubicBezTo>
                  <a:pt x="95600" y="142251"/>
                  <a:pt x="82433" y="154416"/>
                  <a:pt x="71805" y="154015"/>
                </a:cubicBezTo>
                <a:cubicBezTo>
                  <a:pt x="61177" y="153614"/>
                  <a:pt x="51886" y="141449"/>
                  <a:pt x="41726" y="137171"/>
                </a:cubicBezTo>
                <a:cubicBezTo>
                  <a:pt x="31566" y="132893"/>
                  <a:pt x="15872" y="135980"/>
                  <a:pt x="10845" y="128348"/>
                </a:cubicBezTo>
                <a:cubicBezTo>
                  <a:pt x="5819" y="120717"/>
                  <a:pt x="13372" y="102344"/>
                  <a:pt x="11567" y="91382"/>
                </a:cubicBezTo>
                <a:cubicBezTo>
                  <a:pt x="9762" y="80420"/>
                  <a:pt x="-465" y="70572"/>
                  <a:pt x="16" y="62575"/>
                </a:cubicBezTo>
                <a:cubicBezTo>
                  <a:pt x="497" y="54578"/>
                  <a:pt x="11380" y="51623"/>
                  <a:pt x="14455" y="43398"/>
                </a:cubicBezTo>
                <a:cubicBezTo>
                  <a:pt x="17530" y="35173"/>
                  <a:pt x="12650" y="18801"/>
                  <a:pt x="18465" y="13227"/>
                </a:cubicBezTo>
                <a:cubicBezTo>
                  <a:pt x="24280" y="7653"/>
                  <a:pt x="40523" y="12159"/>
                  <a:pt x="49346" y="9956"/>
                </a:cubicBezTo>
                <a:cubicBezTo>
                  <a:pt x="58169" y="7753"/>
                  <a:pt x="64051" y="332"/>
                  <a:pt x="71404" y="11"/>
                </a:cubicBezTo>
                <a:cubicBezTo>
                  <a:pt x="78757" y="-310"/>
                  <a:pt x="85307" y="6428"/>
                  <a:pt x="93462" y="8032"/>
                </a:cubicBezTo>
                <a:close/>
              </a:path>
            </a:pathLst>
          </a:custGeom>
          <a:solidFill>
            <a:srgbClr val="5D74FF">
              <a:alpha val="25000"/>
            </a:srgbClr>
          </a:solidFill>
          <a:ln>
            <a:noFill/>
          </a:ln>
        </p:spPr>
      </p:sp>
      <p:sp>
        <p:nvSpPr>
          <p:cNvPr id="32" name="Google Shape;3544;p75">
            <a:extLst>
              <a:ext uri="{FF2B5EF4-FFF2-40B4-BE49-F238E27FC236}">
                <a16:creationId xmlns:a16="http://schemas.microsoft.com/office/drawing/2014/main" id="{AF849972-E42C-55C4-BDCD-2D152039F677}"/>
              </a:ext>
            </a:extLst>
          </p:cNvPr>
          <p:cNvSpPr/>
          <p:nvPr/>
        </p:nvSpPr>
        <p:spPr>
          <a:xfrm>
            <a:off x="1085335" y="1832149"/>
            <a:ext cx="2377420" cy="2716697"/>
          </a:xfrm>
          <a:custGeom>
            <a:avLst/>
            <a:gdLst/>
            <a:ahLst/>
            <a:cxnLst/>
            <a:rect l="l" t="t" r="r" b="b"/>
            <a:pathLst>
              <a:path w="155698" h="154025" extrusionOk="0">
                <a:moveTo>
                  <a:pt x="93462" y="8032"/>
                </a:moveTo>
                <a:cubicBezTo>
                  <a:pt x="101617" y="9636"/>
                  <a:pt x="114584" y="5620"/>
                  <a:pt x="120332" y="9636"/>
                </a:cubicBezTo>
                <a:cubicBezTo>
                  <a:pt x="126080" y="13652"/>
                  <a:pt x="123741" y="26515"/>
                  <a:pt x="127952" y="32130"/>
                </a:cubicBezTo>
                <a:cubicBezTo>
                  <a:pt x="132163" y="37745"/>
                  <a:pt x="142390" y="37024"/>
                  <a:pt x="145598" y="43325"/>
                </a:cubicBezTo>
                <a:cubicBezTo>
                  <a:pt x="148807" y="49626"/>
                  <a:pt x="145545" y="61199"/>
                  <a:pt x="147203" y="69935"/>
                </a:cubicBezTo>
                <a:cubicBezTo>
                  <a:pt x="148861" y="78672"/>
                  <a:pt x="156895" y="88050"/>
                  <a:pt x="155545" y="95744"/>
                </a:cubicBezTo>
                <a:cubicBezTo>
                  <a:pt x="154195" y="103438"/>
                  <a:pt x="143166" y="109063"/>
                  <a:pt x="139102" y="116101"/>
                </a:cubicBezTo>
                <a:cubicBezTo>
                  <a:pt x="135038" y="123139"/>
                  <a:pt x="136763" y="134060"/>
                  <a:pt x="131161" y="137973"/>
                </a:cubicBezTo>
                <a:cubicBezTo>
                  <a:pt x="125560" y="141886"/>
                  <a:pt x="115386" y="136903"/>
                  <a:pt x="105493" y="139577"/>
                </a:cubicBezTo>
                <a:cubicBezTo>
                  <a:pt x="95600" y="142251"/>
                  <a:pt x="82433" y="154416"/>
                  <a:pt x="71805" y="154015"/>
                </a:cubicBezTo>
                <a:cubicBezTo>
                  <a:pt x="61177" y="153614"/>
                  <a:pt x="51886" y="141449"/>
                  <a:pt x="41726" y="137171"/>
                </a:cubicBezTo>
                <a:cubicBezTo>
                  <a:pt x="31566" y="132893"/>
                  <a:pt x="15872" y="135980"/>
                  <a:pt x="10845" y="128348"/>
                </a:cubicBezTo>
                <a:cubicBezTo>
                  <a:pt x="5819" y="120717"/>
                  <a:pt x="13372" y="102344"/>
                  <a:pt x="11567" y="91382"/>
                </a:cubicBezTo>
                <a:cubicBezTo>
                  <a:pt x="9762" y="80420"/>
                  <a:pt x="-465" y="70572"/>
                  <a:pt x="16" y="62575"/>
                </a:cubicBezTo>
                <a:cubicBezTo>
                  <a:pt x="497" y="54578"/>
                  <a:pt x="11380" y="51623"/>
                  <a:pt x="14455" y="43398"/>
                </a:cubicBezTo>
                <a:cubicBezTo>
                  <a:pt x="17530" y="35173"/>
                  <a:pt x="12650" y="18801"/>
                  <a:pt x="18465" y="13227"/>
                </a:cubicBezTo>
                <a:cubicBezTo>
                  <a:pt x="24280" y="7653"/>
                  <a:pt x="40523" y="12159"/>
                  <a:pt x="49346" y="9956"/>
                </a:cubicBezTo>
                <a:cubicBezTo>
                  <a:pt x="58169" y="7753"/>
                  <a:pt x="64051" y="332"/>
                  <a:pt x="71404" y="11"/>
                </a:cubicBezTo>
                <a:cubicBezTo>
                  <a:pt x="78757" y="-310"/>
                  <a:pt x="85307" y="6428"/>
                  <a:pt x="93462" y="8032"/>
                </a:cubicBezTo>
                <a:close/>
              </a:path>
            </a:pathLst>
          </a:custGeom>
          <a:solidFill>
            <a:srgbClr val="5D74FF">
              <a:alpha val="25000"/>
            </a:srgbClr>
          </a:solidFill>
          <a:ln>
            <a:noFill/>
          </a:ln>
        </p:spPr>
        <p:txBody>
          <a:bodyPr/>
          <a:lstStyle/>
          <a:p>
            <a:endParaRPr lang="en-VN" sz="2800">
              <a:latin typeface="Arial" panose="020B0604020202020204" pitchFamily="34" charset="0"/>
              <a:cs typeface="Arial" panose="020B0604020202020204" pitchFamily="34" charset="0"/>
            </a:endParaRPr>
          </a:p>
        </p:txBody>
      </p:sp>
      <p:sp>
        <p:nvSpPr>
          <p:cNvPr id="33" name="Rectangle 23">
            <a:extLst>
              <a:ext uri="{FF2B5EF4-FFF2-40B4-BE49-F238E27FC236}">
                <a16:creationId xmlns:a16="http://schemas.microsoft.com/office/drawing/2014/main" id="{0CF12A8C-D2FB-28BF-DF85-8D625049B625}"/>
              </a:ext>
            </a:extLst>
          </p:cNvPr>
          <p:cNvSpPr/>
          <p:nvPr/>
        </p:nvSpPr>
        <p:spPr>
          <a:xfrm>
            <a:off x="671071" y="4703096"/>
            <a:ext cx="3029494" cy="1803949"/>
          </a:xfrm>
          <a:prstGeom prst="rect">
            <a:avLst/>
          </a:prstGeom>
          <a:solidFill>
            <a:schemeClr val="bg2">
              <a:alpha val="29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Tx/>
              <a:buChar char="-"/>
            </a:pPr>
            <a:r>
              <a:rPr lang="vi-VN">
                <a:solidFill>
                  <a:sysClr val="windowText" lastClr="000000"/>
                </a:solidFill>
                <a:latin typeface="Arial" panose="020B0604020202020204" pitchFamily="34" charset="0"/>
                <a:cs typeface="Arial" panose="020B0604020202020204" pitchFamily="34" charset="0"/>
              </a:rPr>
              <a:t>Yếu tố di truyền: hội chứng ung thư di truyền</a:t>
            </a:r>
          </a:p>
          <a:p>
            <a:pPr marL="285750" indent="-285750">
              <a:buFontTx/>
              <a:buChar char="-"/>
            </a:pPr>
            <a:r>
              <a:rPr lang="vi-VN">
                <a:solidFill>
                  <a:sysClr val="windowText" lastClr="000000"/>
                </a:solidFill>
                <a:latin typeface="Arial" panose="020B0604020202020204" pitchFamily="34" charset="0"/>
                <a:cs typeface="Arial" panose="020B0604020202020204" pitchFamily="34" charset="0"/>
              </a:rPr>
              <a:t>Yếu tố môi trường: hút thuốc lá, béo phì, đái tháo đường, viêm tụy mạn </a:t>
            </a:r>
            <a:endParaRPr lang="en-ID">
              <a:solidFill>
                <a:sysClr val="windowText" lastClr="000000"/>
              </a:solidFill>
              <a:latin typeface="Arial" panose="020B0604020202020204" pitchFamily="34" charset="0"/>
              <a:cs typeface="Arial" panose="020B0604020202020204" pitchFamily="34" charset="0"/>
            </a:endParaRPr>
          </a:p>
        </p:txBody>
      </p:sp>
      <p:sp>
        <p:nvSpPr>
          <p:cNvPr id="34" name="Rectangle 24">
            <a:extLst>
              <a:ext uri="{FF2B5EF4-FFF2-40B4-BE49-F238E27FC236}">
                <a16:creationId xmlns:a16="http://schemas.microsoft.com/office/drawing/2014/main" id="{C5F92563-DE12-AA8B-77A7-85AD35EE87BD}"/>
              </a:ext>
            </a:extLst>
          </p:cNvPr>
          <p:cNvSpPr/>
          <p:nvPr/>
        </p:nvSpPr>
        <p:spPr>
          <a:xfrm>
            <a:off x="4273930" y="4703096"/>
            <a:ext cx="3216148" cy="1803949"/>
          </a:xfrm>
          <a:prstGeom prst="rect">
            <a:avLst/>
          </a:prstGeom>
          <a:solidFill>
            <a:schemeClr val="bg2">
              <a:alpha val="29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Tx/>
              <a:buChar char="-"/>
            </a:pPr>
            <a:r>
              <a:rPr lang="vi-VN">
                <a:latin typeface="Arial" panose="020B0604020202020204" pitchFamily="34" charset="0"/>
                <a:cs typeface="Arial" panose="020B0604020202020204" pitchFamily="34" charset="0"/>
              </a:rPr>
              <a:t>Hội chứng đa polyp có tính di truyền</a:t>
            </a:r>
            <a:endParaRPr lang="en-ID">
              <a:latin typeface="Arial" panose="020B0604020202020204" pitchFamily="34" charset="0"/>
              <a:cs typeface="Arial" panose="020B0604020202020204" pitchFamily="34" charset="0"/>
            </a:endParaRPr>
          </a:p>
        </p:txBody>
      </p:sp>
      <p:sp>
        <p:nvSpPr>
          <p:cNvPr id="35" name="Rectangle 25">
            <a:extLst>
              <a:ext uri="{FF2B5EF4-FFF2-40B4-BE49-F238E27FC236}">
                <a16:creationId xmlns:a16="http://schemas.microsoft.com/office/drawing/2014/main" id="{8F516113-B07A-6782-1445-ACCEA4205725}"/>
              </a:ext>
            </a:extLst>
          </p:cNvPr>
          <p:cNvSpPr/>
          <p:nvPr/>
        </p:nvSpPr>
        <p:spPr>
          <a:xfrm>
            <a:off x="8063442" y="4703096"/>
            <a:ext cx="3035799" cy="1803949"/>
          </a:xfrm>
          <a:prstGeom prst="rect">
            <a:avLst/>
          </a:prstGeom>
          <a:solidFill>
            <a:schemeClr val="bg2">
              <a:alpha val="29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Tx/>
              <a:buChar char="-"/>
            </a:pPr>
            <a:r>
              <a:rPr lang="vi-VN">
                <a:latin typeface="Arial" panose="020B0604020202020204" pitchFamily="34" charset="0"/>
                <a:cs typeface="Arial" panose="020B0604020202020204" pitchFamily="34" charset="0"/>
              </a:rPr>
              <a:t>Hội chứng ruột kích thích.</a:t>
            </a:r>
          </a:p>
          <a:p>
            <a:pPr marL="285750" indent="-285750">
              <a:buFontTx/>
              <a:buChar char="-"/>
            </a:pPr>
            <a:r>
              <a:rPr lang="vi-VN">
                <a:latin typeface="Arial" panose="020B0604020202020204" pitchFamily="34" charset="0"/>
                <a:cs typeface="Arial" panose="020B0604020202020204" pitchFamily="34" charset="0"/>
              </a:rPr>
              <a:t>Viêm xơ hóa đường mật.</a:t>
            </a:r>
          </a:p>
          <a:p>
            <a:pPr marL="285750" indent="-285750">
              <a:buFontTx/>
              <a:buChar char="-"/>
            </a:pPr>
            <a:r>
              <a:rPr lang="vi-VN">
                <a:latin typeface="Arial" panose="020B0604020202020204" pitchFamily="34" charset="0"/>
                <a:cs typeface="Arial" panose="020B0604020202020204" pitchFamily="34" charset="0"/>
              </a:rPr>
              <a:t>Nang ống mật chủ</a:t>
            </a:r>
          </a:p>
          <a:p>
            <a:pPr marL="285750" indent="-285750">
              <a:buFontTx/>
              <a:buChar char="-"/>
            </a:pPr>
            <a:r>
              <a:rPr lang="vi-VN">
                <a:latin typeface="Arial" panose="020B0604020202020204" pitchFamily="34" charset="0"/>
                <a:cs typeface="Arial" panose="020B0604020202020204" pitchFamily="34" charset="0"/>
              </a:rPr>
              <a:t>Sỏi mật</a:t>
            </a:r>
          </a:p>
          <a:p>
            <a:pPr marL="285750" indent="-285750" algn="ctr">
              <a:buFontTx/>
              <a:buChar char="-"/>
            </a:pPr>
            <a:endParaRPr lang="en-ID">
              <a:latin typeface="Arial" panose="020B0604020202020204" pitchFamily="34" charset="0"/>
              <a:cs typeface="Arial" panose="020B0604020202020204" pitchFamily="34" charset="0"/>
            </a:endParaRPr>
          </a:p>
        </p:txBody>
      </p:sp>
      <p:sp>
        <p:nvSpPr>
          <p:cNvPr id="36" name="Hộp Văn bản 35">
            <a:extLst>
              <a:ext uri="{FF2B5EF4-FFF2-40B4-BE49-F238E27FC236}">
                <a16:creationId xmlns:a16="http://schemas.microsoft.com/office/drawing/2014/main" id="{4B4681FA-7E80-75E5-CF58-8B594121EB56}"/>
              </a:ext>
            </a:extLst>
          </p:cNvPr>
          <p:cNvSpPr txBox="1"/>
          <p:nvPr/>
        </p:nvSpPr>
        <p:spPr>
          <a:xfrm>
            <a:off x="4483451" y="892687"/>
            <a:ext cx="2642505" cy="400110"/>
          </a:xfrm>
          <a:prstGeom prst="rect">
            <a:avLst/>
          </a:prstGeom>
          <a:noFill/>
        </p:spPr>
        <p:txBody>
          <a:bodyPr wrap="square" rtlCol="0">
            <a:spAutoFit/>
          </a:bodyPr>
          <a:lstStyle/>
          <a:p>
            <a:r>
              <a:rPr lang="vi-VN" sz="2000" b="1">
                <a:latin typeface="Arial" panose="020B0604020202020204" pitchFamily="34" charset="0"/>
                <a:cs typeface="Arial" panose="020B0604020202020204" pitchFamily="34" charset="0"/>
              </a:rPr>
              <a:t>YẾU TỐ NGUY CƠ</a:t>
            </a:r>
          </a:p>
        </p:txBody>
      </p:sp>
      <p:grpSp>
        <p:nvGrpSpPr>
          <p:cNvPr id="37" name="Group 7">
            <a:extLst>
              <a:ext uri="{FF2B5EF4-FFF2-40B4-BE49-F238E27FC236}">
                <a16:creationId xmlns:a16="http://schemas.microsoft.com/office/drawing/2014/main" id="{519FA3DA-B76A-1DD0-D799-B78BF1CD93A1}"/>
              </a:ext>
            </a:extLst>
          </p:cNvPr>
          <p:cNvGrpSpPr/>
          <p:nvPr/>
        </p:nvGrpSpPr>
        <p:grpSpPr>
          <a:xfrm>
            <a:off x="241855" y="199448"/>
            <a:ext cx="2887976" cy="965827"/>
            <a:chOff x="533402" y="492718"/>
            <a:chExt cx="2887976" cy="965827"/>
          </a:xfrm>
        </p:grpSpPr>
        <p:sp>
          <p:nvSpPr>
            <p:cNvPr id="38" name="TextBox 12">
              <a:extLst>
                <a:ext uri="{FF2B5EF4-FFF2-40B4-BE49-F238E27FC236}">
                  <a16:creationId xmlns:a16="http://schemas.microsoft.com/office/drawing/2014/main" id="{CD39D86B-DF7E-490B-1ADD-7684E1626E41}"/>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sp>
          <p:nvSpPr>
            <p:cNvPr id="39" name="TextBox 13">
              <a:extLst>
                <a:ext uri="{FF2B5EF4-FFF2-40B4-BE49-F238E27FC236}">
                  <a16:creationId xmlns:a16="http://schemas.microsoft.com/office/drawing/2014/main" id="{7DD460F3-6B6F-1DEE-FB09-5FD27F88DBD4}"/>
                </a:ext>
              </a:extLst>
            </p:cNvPr>
            <p:cNvSpPr txBox="1"/>
            <p:nvPr/>
          </p:nvSpPr>
          <p:spPr>
            <a:xfrm>
              <a:off x="533402" y="966102"/>
              <a:ext cx="2887976" cy="492443"/>
            </a:xfrm>
            <a:prstGeom prst="rect">
              <a:avLst/>
            </a:prstGeom>
            <a:noFill/>
          </p:spPr>
          <p:txBody>
            <a:bodyPr wrap="square" lIns="0" tIns="0" rIns="0" bIns="0" rtlCol="0" anchor="t">
              <a:spAutoFit/>
            </a:bodyPr>
            <a:lstStyle/>
            <a:p>
              <a:r>
                <a:rPr lang="en-US" sz="3200" b="1">
                  <a:solidFill>
                    <a:schemeClr val="accent1">
                      <a:lumMod val="75000"/>
                    </a:schemeClr>
                  </a:solidFill>
                  <a:latin typeface="Arial" panose="020B0604020202020204" pitchFamily="34" charset="0"/>
                  <a:ea typeface="Segoe UI Black" panose="020B0A02040204020203" pitchFamily="34" charset="0"/>
                  <a:cs typeface="Arial" panose="020B0604020202020204" pitchFamily="34" charset="0"/>
                </a:rPr>
                <a:t>I. Giới </a:t>
              </a:r>
              <a:r>
                <a:rPr lang="en-US" sz="3200" b="1">
                  <a:solidFill>
                    <a:srgbClr val="0070C0"/>
                  </a:solidFill>
                  <a:latin typeface="Arial" panose="020B0604020202020204" pitchFamily="34" charset="0"/>
                  <a:ea typeface="Segoe UI Black" panose="020B0A02040204020203" pitchFamily="34" charset="0"/>
                  <a:cs typeface="Arial" panose="020B0604020202020204" pitchFamily="34" charset="0"/>
                </a:rPr>
                <a:t>thiệu</a:t>
              </a:r>
            </a:p>
          </p:txBody>
        </p:sp>
      </p:grpSp>
    </p:spTree>
    <p:extLst>
      <p:ext uri="{BB962C8B-B14F-4D97-AF65-F5344CB8AC3E}">
        <p14:creationId xmlns:p14="http://schemas.microsoft.com/office/powerpoint/2010/main" val="23155443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êu đề 1">
            <a:extLst>
              <a:ext uri="{FF2B5EF4-FFF2-40B4-BE49-F238E27FC236}">
                <a16:creationId xmlns:a16="http://schemas.microsoft.com/office/drawing/2014/main" id="{8BE4FE87-A174-7137-C8E6-77287D71F353}"/>
              </a:ext>
            </a:extLst>
          </p:cNvPr>
          <p:cNvSpPr txBox="1">
            <a:spLocks/>
          </p:cNvSpPr>
          <p:nvPr/>
        </p:nvSpPr>
        <p:spPr>
          <a:xfrm>
            <a:off x="748736" y="519839"/>
            <a:ext cx="9404723" cy="7676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vi-VN">
                <a:latin typeface="Arial" panose="020B0604020202020204" pitchFamily="34" charset="0"/>
                <a:cs typeface="Arial" panose="020B0604020202020204" pitchFamily="34" charset="0"/>
              </a:rPr>
              <a:t>TÀI LIỆU THAM KHẢO</a:t>
            </a:r>
          </a:p>
        </p:txBody>
      </p:sp>
      <p:sp>
        <p:nvSpPr>
          <p:cNvPr id="3" name="Hộp Văn bản 2">
            <a:extLst>
              <a:ext uri="{FF2B5EF4-FFF2-40B4-BE49-F238E27FC236}">
                <a16:creationId xmlns:a16="http://schemas.microsoft.com/office/drawing/2014/main" id="{2CBA0A16-9013-A615-8515-0F7E2D7F7A64}"/>
              </a:ext>
            </a:extLst>
          </p:cNvPr>
          <p:cNvSpPr txBox="1"/>
          <p:nvPr/>
        </p:nvSpPr>
        <p:spPr>
          <a:xfrm>
            <a:off x="1035353" y="1595021"/>
            <a:ext cx="8587529" cy="5262979"/>
          </a:xfrm>
          <a:prstGeom prst="rect">
            <a:avLst/>
          </a:prstGeom>
          <a:noFill/>
        </p:spPr>
        <p:txBody>
          <a:bodyPr wrap="square" rtlCol="0">
            <a:spAutoFit/>
          </a:bodyPr>
          <a:lstStyle/>
          <a:p>
            <a:pPr marL="342900" indent="-342900">
              <a:buAutoNum type="arabicPeriod"/>
            </a:pPr>
            <a:endParaRPr lang="vi-VN" sz="1400">
              <a:latin typeface="Arial" panose="020B0604020202020204" pitchFamily="34" charset="0"/>
              <a:cs typeface="Arial" panose="020B0604020202020204" pitchFamily="34" charset="0"/>
            </a:endParaRPr>
          </a:p>
          <a:p>
            <a:pPr marL="342900" indent="-342900">
              <a:buFontTx/>
              <a:buAutoNum type="arabicPeriod"/>
            </a:pPr>
            <a:r>
              <a:rPr lang="en-US" sz="1400">
                <a:latin typeface="Arial" panose="020B0604020202020204" pitchFamily="34" charset="0"/>
                <a:cs typeface="Arial" panose="020B0604020202020204" pitchFamily="34" charset="0"/>
              </a:rPr>
              <a:t>Phan Minh Trí. Ung thư quanh bóng vater. Bệnh học Ngoại khoa Tiêu hóa. 2021.</a:t>
            </a:r>
          </a:p>
          <a:p>
            <a:pPr marL="342900" indent="-342900">
              <a:buFontTx/>
              <a:buAutoNum type="arabicPeriod"/>
            </a:pPr>
            <a:r>
              <a:rPr lang="en-US" sz="1400">
                <a:latin typeface="Arial" panose="020B0604020202020204" pitchFamily="34" charset="0"/>
                <a:cs typeface="Arial" panose="020B0604020202020204" pitchFamily="34" charset="0"/>
              </a:rPr>
              <a:t>Carlos Castillo. Clinical manifestations, diagnosis, and staging of exocrine pancreatic cancer. Uptodate 2022.</a:t>
            </a:r>
          </a:p>
          <a:p>
            <a:pPr marL="342900" indent="-342900">
              <a:buFontTx/>
              <a:buAutoNum type="arabicPeriod"/>
            </a:pPr>
            <a:r>
              <a:rPr lang="vi-VN" sz="1400" b="0" i="0">
                <a:effectLst/>
                <a:latin typeface="Arial" panose="020B0604020202020204" pitchFamily="34" charset="0"/>
                <a:cs typeface="Arial" panose="020B0604020202020204" pitchFamily="34" charset="0"/>
              </a:rPr>
              <a:t>Shrikhande SV, Barreto SG, Goel M, Arya S. Multimodality imaging of pancreatic ductal adenocarcinoma: a review of the literature. HPB (Oxford). 2012 Oct;14(10):658-68</a:t>
            </a:r>
            <a:r>
              <a:rPr lang="en-US" sz="1400" b="0" i="0">
                <a:effectLst/>
                <a:latin typeface="Arial" panose="020B0604020202020204" pitchFamily="34" charset="0"/>
                <a:cs typeface="Arial" panose="020B0604020202020204" pitchFamily="34" charset="0"/>
              </a:rPr>
              <a:t>.</a:t>
            </a:r>
          </a:p>
          <a:p>
            <a:pPr marL="342900" indent="-342900">
              <a:buFontTx/>
              <a:buAutoNum type="arabicPeriod"/>
            </a:pPr>
            <a:r>
              <a:rPr lang="en-US" sz="1400" b="0" i="0">
                <a:effectLst/>
                <a:latin typeface="Arial" panose="020B0604020202020204" pitchFamily="34" charset="0"/>
                <a:cs typeface="Arial" panose="020B0604020202020204" pitchFamily="34" charset="0"/>
              </a:rPr>
              <a:t>Verma A, Shukla S, Verma N. Diagnosis, Preoperative Evaluation, and Assessment of Resectability of Pancreatic and Periampullary Cancer. Indian J Surg. 2015 Oct;77(5):362-70</a:t>
            </a:r>
          </a:p>
          <a:p>
            <a:pPr marL="342900" indent="-342900">
              <a:buFontTx/>
              <a:buAutoNum type="arabicPeriod"/>
            </a:pPr>
            <a:r>
              <a:rPr lang="vi-VN" sz="1400">
                <a:latin typeface="Arial" panose="020B0604020202020204" pitchFamily="34" charset="0"/>
                <a:cs typeface="Arial" panose="020B0604020202020204" pitchFamily="34" charset="0"/>
              </a:rPr>
              <a:t>Sunnapwar, Abhijit &amp; Nagar, Arpit &amp; Katre, Rashmi &amp; Khanna, Lokesh &amp; Sayana, Hari. (2021). Imaging of Ampullary and Periampullary Conditions. Journal of Gastrointestinal and Abdominal Radiology. 4. 10.1055/s-0041-1726663. </a:t>
            </a:r>
          </a:p>
          <a:p>
            <a:pPr marL="342900" indent="-342900">
              <a:buFontTx/>
              <a:buAutoNum type="arabicPeriod"/>
            </a:pPr>
            <a:r>
              <a:rPr lang="vi-VN" sz="1400" b="0" i="0">
                <a:effectLst/>
                <a:latin typeface="Arial" panose="020B0604020202020204" pitchFamily="34" charset="0"/>
                <a:cs typeface="Arial" panose="020B0604020202020204" pitchFamily="34" charset="0"/>
              </a:rPr>
              <a:t>Szary NM, Al-Kawas FH. Complications of endoscopic retrograde cholangiopancreatography: how to avoid and manage them. Gastroenterol Hepatol (N Y). 2013 Aug;9(8):496-504.</a:t>
            </a:r>
          </a:p>
          <a:p>
            <a:pPr marL="342900" indent="-342900">
              <a:buFontTx/>
              <a:buAutoNum type="arabicPeriod"/>
            </a:pPr>
            <a:r>
              <a:rPr lang="en-US" sz="1400" b="0" i="0">
                <a:effectLst/>
                <a:latin typeface="Arial" panose="020B0604020202020204" pitchFamily="34" charset="0"/>
                <a:cs typeface="Arial" panose="020B0604020202020204" pitchFamily="34" charset="0"/>
              </a:rPr>
              <a:t>Hennedige, T.P., Neo, W.T. &amp; Venkatesh, S.K. Imaging of malignancies of the biliary tract- an update. </a:t>
            </a:r>
            <a:r>
              <a:rPr lang="en-US" sz="1400" i="1">
                <a:latin typeface="Arial" panose="020B0604020202020204" pitchFamily="34" charset="0"/>
                <a:cs typeface="Arial" panose="020B0604020202020204" pitchFamily="34" charset="0"/>
              </a:rPr>
              <a:t>C</a:t>
            </a:r>
            <a:r>
              <a:rPr lang="en-US" sz="1400" b="0" i="1">
                <a:effectLst/>
                <a:latin typeface="Arial" panose="020B0604020202020204" pitchFamily="34" charset="0"/>
                <a:cs typeface="Arial" panose="020B0604020202020204" pitchFamily="34" charset="0"/>
              </a:rPr>
              <a:t>ancer imaging</a:t>
            </a:r>
            <a:r>
              <a:rPr lang="en-US" sz="1400" b="0" i="0">
                <a:effectLst/>
                <a:latin typeface="Arial" panose="020B0604020202020204" pitchFamily="34" charset="0"/>
                <a:cs typeface="Arial" panose="020B0604020202020204" pitchFamily="34" charset="0"/>
              </a:rPr>
              <a:t> </a:t>
            </a:r>
            <a:r>
              <a:rPr lang="en-US" sz="1400" i="0">
                <a:effectLst/>
                <a:latin typeface="Arial" panose="020B0604020202020204" pitchFamily="34" charset="0"/>
                <a:cs typeface="Arial" panose="020B0604020202020204" pitchFamily="34" charset="0"/>
              </a:rPr>
              <a:t>14</a:t>
            </a:r>
            <a:r>
              <a:rPr lang="en-US" sz="1400" b="0" i="0">
                <a:effectLst/>
                <a:latin typeface="Arial" panose="020B0604020202020204" pitchFamily="34" charset="0"/>
                <a:cs typeface="Arial" panose="020B0604020202020204" pitchFamily="34" charset="0"/>
              </a:rPr>
              <a:t>, 14 (2014).</a:t>
            </a:r>
          </a:p>
          <a:p>
            <a:pPr marL="342900" indent="-342900">
              <a:buFontTx/>
              <a:buAutoNum type="arabicPeriod"/>
            </a:pPr>
            <a:r>
              <a:rPr lang="vi-VN" sz="1400">
                <a:latin typeface="Arial" panose="020B0604020202020204" pitchFamily="34" charset="0"/>
                <a:cs typeface="Arial" panose="020B0604020202020204" pitchFamily="34" charset="0"/>
              </a:rPr>
              <a:t>Katherin E. Poruk, John L Cameron (2019). Pancreatic and periampullary cancer, in </a:t>
            </a:r>
            <a:r>
              <a:rPr lang="en-US" sz="1400">
                <a:effectLst/>
                <a:latin typeface="Arial" panose="020B0604020202020204" pitchFamily="34" charset="0"/>
                <a:cs typeface="Arial" panose="020B0604020202020204" pitchFamily="34" charset="0"/>
              </a:rPr>
              <a:t>Shackelford’s Surgery of the Alimentary Tract 8th edit</a:t>
            </a:r>
            <a:r>
              <a:rPr lang="en-US" sz="1400">
                <a:latin typeface="Arial" panose="020B0604020202020204" pitchFamily="34" charset="0"/>
                <a:cs typeface="Arial" panose="020B0604020202020204" pitchFamily="34" charset="0"/>
              </a:rPr>
              <a:t>, Elsevier, 1136-1148.</a:t>
            </a:r>
          </a:p>
          <a:p>
            <a:pPr marL="342900" indent="-342900">
              <a:buFontTx/>
              <a:buAutoNum type="arabicPeriod"/>
            </a:pPr>
            <a:r>
              <a:rPr lang="en-US" sz="1400">
                <a:latin typeface="Arial" panose="020B0604020202020204" pitchFamily="34" charset="0"/>
                <a:cs typeface="Arial" panose="020B0604020202020204" pitchFamily="34" charset="0"/>
              </a:rPr>
              <a:t>National Comprehensive Cancer Network. NCCN Clinical Practice Guidelines in Oncology. Pancreatic Adenocarcinoma. Version 2.2021.</a:t>
            </a:r>
          </a:p>
          <a:p>
            <a:pPr marL="342900" indent="-342900">
              <a:buFontTx/>
              <a:buAutoNum type="arabicPeriod"/>
            </a:pPr>
            <a:r>
              <a:rPr lang="en-US" sz="1400">
                <a:latin typeface="Arial" panose="020B0604020202020204" pitchFamily="34" charset="0"/>
                <a:cs typeface="Arial" panose="020B0604020202020204" pitchFamily="34" charset="0"/>
              </a:rPr>
              <a:t>National Comprehensive Cancer Network. NCCN Clinical Practice Guidelines in Oncology. Ampullary Adenocarcinoma. Version 1.2022</a:t>
            </a:r>
          </a:p>
          <a:p>
            <a:pPr marL="342900" indent="-342900">
              <a:buFontTx/>
              <a:buAutoNum type="arabicPeriod"/>
            </a:pPr>
            <a:endParaRPr lang="en-US" sz="1400">
              <a:latin typeface="Arial" panose="020B0604020202020204" pitchFamily="34" charset="0"/>
              <a:cs typeface="Arial" panose="020B0604020202020204" pitchFamily="34" charset="0"/>
            </a:endParaRPr>
          </a:p>
          <a:p>
            <a:pPr marL="342900" indent="-342900">
              <a:buFontTx/>
              <a:buAutoNum type="arabicPeriod"/>
            </a:pPr>
            <a:endParaRPr lang="vi-VN" sz="1400">
              <a:latin typeface="Arial" panose="020B0604020202020204" pitchFamily="34" charset="0"/>
              <a:cs typeface="Arial" panose="020B0604020202020204" pitchFamily="34" charset="0"/>
            </a:endParaRPr>
          </a:p>
          <a:p>
            <a:pPr marL="342900" indent="-342900">
              <a:buAutoNum type="arabicPeriod"/>
            </a:pPr>
            <a:endParaRPr lang="vi-VN"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6954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a:extLst>
              <a:ext uri="{FF2B5EF4-FFF2-40B4-BE49-F238E27FC236}">
                <a16:creationId xmlns:a16="http://schemas.microsoft.com/office/drawing/2014/main" id="{C37D7D94-A4F8-436E-A575-EF167AFBCF7C}"/>
              </a:ext>
            </a:extLst>
          </p:cNvPr>
          <p:cNvCxnSpPr>
            <a:cxnSpLocks/>
          </p:cNvCxnSpPr>
          <p:nvPr/>
        </p:nvCxnSpPr>
        <p:spPr>
          <a:xfrm flipV="1">
            <a:off x="1374821" y="3529991"/>
            <a:ext cx="4543026" cy="7974"/>
          </a:xfrm>
          <a:prstGeom prst="line">
            <a:avLst/>
          </a:prstGeom>
          <a:ln w="1270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Freeform: Shape 16">
            <a:extLst>
              <a:ext uri="{FF2B5EF4-FFF2-40B4-BE49-F238E27FC236}">
                <a16:creationId xmlns:a16="http://schemas.microsoft.com/office/drawing/2014/main" id="{0A27ABDB-8549-4CFC-8E4E-B98508D1A959}"/>
              </a:ext>
            </a:extLst>
          </p:cNvPr>
          <p:cNvSpPr/>
          <p:nvPr/>
        </p:nvSpPr>
        <p:spPr>
          <a:xfrm rot="10800000">
            <a:off x="7931350" y="0"/>
            <a:ext cx="4260647" cy="4915504"/>
          </a:xfrm>
          <a:custGeom>
            <a:avLst/>
            <a:gdLst>
              <a:gd name="connsiteX0" fmla="*/ 4260647 w 4260647"/>
              <a:gd name="connsiteY0" fmla="*/ 4915504 h 4915504"/>
              <a:gd name="connsiteX1" fmla="*/ 0 w 4260647"/>
              <a:gd name="connsiteY1" fmla="*/ 4915504 h 4915504"/>
              <a:gd name="connsiteX2" fmla="*/ 0 w 4260647"/>
              <a:gd name="connsiteY2" fmla="*/ 2541 h 4915504"/>
              <a:gd name="connsiteX3" fmla="*/ 753 w 4260647"/>
              <a:gd name="connsiteY3" fmla="*/ 2348 h 4915504"/>
              <a:gd name="connsiteX4" fmla="*/ 52945 w 4260647"/>
              <a:gd name="connsiteY4" fmla="*/ 674 h 4915504"/>
              <a:gd name="connsiteX5" fmla="*/ 504441 w 4260647"/>
              <a:gd name="connsiteY5" fmla="*/ 470286 h 4915504"/>
              <a:gd name="connsiteX6" fmla="*/ 961863 w 4260647"/>
              <a:gd name="connsiteY6" fmla="*/ 3422670 h 4915504"/>
              <a:gd name="connsiteX7" fmla="*/ 4052727 w 4260647"/>
              <a:gd name="connsiteY7" fmla="*/ 4678281 h 4915504"/>
              <a:gd name="connsiteX8" fmla="*/ 4182626 w 4260647"/>
              <a:gd name="connsiteY8" fmla="*/ 4809547 h 491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0647" h="4915504">
                <a:moveTo>
                  <a:pt x="4260647" y="4915504"/>
                </a:moveTo>
                <a:lnTo>
                  <a:pt x="0" y="4915504"/>
                </a:lnTo>
                <a:lnTo>
                  <a:pt x="0" y="2541"/>
                </a:lnTo>
                <a:lnTo>
                  <a:pt x="753" y="2348"/>
                </a:lnTo>
                <a:cubicBezTo>
                  <a:pt x="17819" y="-62"/>
                  <a:pt x="35256" y="-613"/>
                  <a:pt x="52945" y="674"/>
                </a:cubicBezTo>
                <a:cubicBezTo>
                  <a:pt x="212145" y="12257"/>
                  <a:pt x="391718" y="172820"/>
                  <a:pt x="504441" y="470286"/>
                </a:cubicBezTo>
                <a:cubicBezTo>
                  <a:pt x="704835" y="999113"/>
                  <a:pt x="370481" y="2721338"/>
                  <a:pt x="961863" y="3422670"/>
                </a:cubicBezTo>
                <a:cubicBezTo>
                  <a:pt x="1553243" y="4124002"/>
                  <a:pt x="3448277" y="4155110"/>
                  <a:pt x="4052727" y="4678281"/>
                </a:cubicBezTo>
                <a:cubicBezTo>
                  <a:pt x="4099949" y="4719154"/>
                  <a:pt x="4143137" y="4763099"/>
                  <a:pt x="4182626" y="4809547"/>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8" name="Group 7">
            <a:extLst>
              <a:ext uri="{FF2B5EF4-FFF2-40B4-BE49-F238E27FC236}">
                <a16:creationId xmlns:a16="http://schemas.microsoft.com/office/drawing/2014/main" id="{0B08BBB2-D723-40AF-8467-E62CB87D54D3}"/>
              </a:ext>
            </a:extLst>
          </p:cNvPr>
          <p:cNvGrpSpPr/>
          <p:nvPr/>
        </p:nvGrpSpPr>
        <p:grpSpPr>
          <a:xfrm>
            <a:off x="928513" y="1517691"/>
            <a:ext cx="6104465" cy="1458269"/>
            <a:chOff x="533402" y="492718"/>
            <a:chExt cx="3511351" cy="1458269"/>
          </a:xfrm>
        </p:grpSpPr>
        <p:sp>
          <p:nvSpPr>
            <p:cNvPr id="13" name="TextBox 12">
              <a:extLst>
                <a:ext uri="{FF2B5EF4-FFF2-40B4-BE49-F238E27FC236}">
                  <a16:creationId xmlns:a16="http://schemas.microsoft.com/office/drawing/2014/main" id="{1BDC47C5-632E-4F29-B869-B455C3444DF4}"/>
                </a:ext>
              </a:extLst>
            </p:cNvPr>
            <p:cNvSpPr txBox="1"/>
            <p:nvPr/>
          </p:nvSpPr>
          <p:spPr>
            <a:xfrm>
              <a:off x="533402" y="492718"/>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Calibri" panose="020F0502020204030204" pitchFamily="34" charset="0"/>
              </a:endParaRPr>
            </a:p>
          </p:txBody>
        </p:sp>
        <p:sp>
          <p:nvSpPr>
            <p:cNvPr id="14" name="TextBox 13">
              <a:extLst>
                <a:ext uri="{FF2B5EF4-FFF2-40B4-BE49-F238E27FC236}">
                  <a16:creationId xmlns:a16="http://schemas.microsoft.com/office/drawing/2014/main" id="{75D937E8-ACE5-44B9-8289-4EA6EFF979B0}"/>
                </a:ext>
              </a:extLst>
            </p:cNvPr>
            <p:cNvSpPr txBox="1"/>
            <p:nvPr/>
          </p:nvSpPr>
          <p:spPr>
            <a:xfrm>
              <a:off x="533402" y="966102"/>
              <a:ext cx="3511351" cy="984885"/>
            </a:xfrm>
            <a:prstGeom prst="rect">
              <a:avLst/>
            </a:prstGeom>
            <a:noFill/>
          </p:spPr>
          <p:txBody>
            <a:bodyPr wrap="square" lIns="0" tIns="0" rIns="0" bIns="0" rtlCol="0" anchor="t">
              <a:spAutoFit/>
            </a:bodyPr>
            <a:lstStyle/>
            <a:p>
              <a:r>
                <a:rPr lang="vi-VN" sz="3200">
                  <a:solidFill>
                    <a:srgbClr val="0070C0"/>
                  </a:solidFill>
                  <a:latin typeface="Segoe UI" panose="020B0502040204020203" pitchFamily="34" charset="0"/>
                  <a:cs typeface="Segoe UI" panose="020B0502040204020203" pitchFamily="34" charset="0"/>
                </a:rPr>
                <a:t>CẢM ƠN THẦY CÔ VÀ CÁC BẠN </a:t>
              </a:r>
            </a:p>
            <a:p>
              <a:r>
                <a:rPr lang="vi-VN" sz="3200">
                  <a:solidFill>
                    <a:srgbClr val="0070C0"/>
                  </a:solidFill>
                  <a:latin typeface="Segoe UI" panose="020B0502040204020203" pitchFamily="34" charset="0"/>
                  <a:cs typeface="Segoe UI" panose="020B0502040204020203" pitchFamily="34" charset="0"/>
                </a:rPr>
                <a:t>ĐÃ THEO DÕI!</a:t>
              </a:r>
            </a:p>
          </p:txBody>
        </p:sp>
      </p:grpSp>
      <p:sp>
        <p:nvSpPr>
          <p:cNvPr id="15" name="Freeform: Shape 14">
            <a:extLst>
              <a:ext uri="{FF2B5EF4-FFF2-40B4-BE49-F238E27FC236}">
                <a16:creationId xmlns:a16="http://schemas.microsoft.com/office/drawing/2014/main" id="{ACE311CC-2A7E-4437-A2BA-54D6597BDD16}"/>
              </a:ext>
            </a:extLst>
          </p:cNvPr>
          <p:cNvSpPr/>
          <p:nvPr/>
        </p:nvSpPr>
        <p:spPr>
          <a:xfrm>
            <a:off x="2" y="4404166"/>
            <a:ext cx="3904341" cy="2453834"/>
          </a:xfrm>
          <a:custGeom>
            <a:avLst/>
            <a:gdLst>
              <a:gd name="connsiteX0" fmla="*/ 82743 w 7167829"/>
              <a:gd name="connsiteY0" fmla="*/ 504 h 4504899"/>
              <a:gd name="connsiteX1" fmla="*/ 788343 w 7167829"/>
              <a:gd name="connsiteY1" fmla="*/ 351999 h 4504899"/>
              <a:gd name="connsiteX2" fmla="*/ 1503205 w 7167829"/>
              <a:gd name="connsiteY2" fmla="*/ 2561799 h 4504899"/>
              <a:gd name="connsiteX3" fmla="*/ 6333627 w 7167829"/>
              <a:gd name="connsiteY3" fmla="*/ 3501599 h 4504899"/>
              <a:gd name="connsiteX4" fmla="*/ 7163377 w 7167829"/>
              <a:gd name="connsiteY4" fmla="*/ 4458750 h 4504899"/>
              <a:gd name="connsiteX5" fmla="*/ 7167829 w 7167829"/>
              <a:gd name="connsiteY5" fmla="*/ 4504899 h 4504899"/>
              <a:gd name="connsiteX6" fmla="*/ 0 w 7167829"/>
              <a:gd name="connsiteY6" fmla="*/ 4504899 h 4504899"/>
              <a:gd name="connsiteX7" fmla="*/ 0 w 7167829"/>
              <a:gd name="connsiteY7" fmla="*/ 1902 h 4504899"/>
              <a:gd name="connsiteX8" fmla="*/ 1177 w 7167829"/>
              <a:gd name="connsiteY8" fmla="*/ 1757 h 4504899"/>
              <a:gd name="connsiteX9" fmla="*/ 82743 w 7167829"/>
              <a:gd name="connsiteY9" fmla="*/ 504 h 450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7829" h="4504899">
                <a:moveTo>
                  <a:pt x="82743" y="504"/>
                </a:moveTo>
                <a:cubicBezTo>
                  <a:pt x="331541" y="9174"/>
                  <a:pt x="612180" y="129352"/>
                  <a:pt x="788343" y="351999"/>
                </a:cubicBezTo>
                <a:cubicBezTo>
                  <a:pt x="1101521" y="747816"/>
                  <a:pt x="578990" y="2036866"/>
                  <a:pt x="1503205" y="2561799"/>
                </a:cubicBezTo>
                <a:cubicBezTo>
                  <a:pt x="2427419" y="3086732"/>
                  <a:pt x="5388989" y="3110016"/>
                  <a:pt x="6333627" y="3501599"/>
                </a:cubicBezTo>
                <a:cubicBezTo>
                  <a:pt x="6924026" y="3746339"/>
                  <a:pt x="7110853" y="4138253"/>
                  <a:pt x="7163377" y="4458750"/>
                </a:cubicBezTo>
                <a:lnTo>
                  <a:pt x="7167829" y="4504899"/>
                </a:lnTo>
                <a:lnTo>
                  <a:pt x="0" y="4504899"/>
                </a:lnTo>
                <a:lnTo>
                  <a:pt x="0" y="1902"/>
                </a:lnTo>
                <a:lnTo>
                  <a:pt x="1177" y="1757"/>
                </a:lnTo>
                <a:cubicBezTo>
                  <a:pt x="27848" y="-46"/>
                  <a:pt x="55099" y="-459"/>
                  <a:pt x="82743" y="504"/>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nvGrpSpPr>
          <p:cNvPr id="185" name="Group 184">
            <a:extLst>
              <a:ext uri="{FF2B5EF4-FFF2-40B4-BE49-F238E27FC236}">
                <a16:creationId xmlns:a16="http://schemas.microsoft.com/office/drawing/2014/main" id="{8ED9B3ED-7120-4603-8CCD-E00D81660B0D}"/>
              </a:ext>
            </a:extLst>
          </p:cNvPr>
          <p:cNvGrpSpPr/>
          <p:nvPr/>
        </p:nvGrpSpPr>
        <p:grpSpPr>
          <a:xfrm>
            <a:off x="4269521" y="3938421"/>
            <a:ext cx="1165214" cy="931489"/>
            <a:chOff x="10053740" y="592613"/>
            <a:chExt cx="1072349" cy="857252"/>
          </a:xfrm>
        </p:grpSpPr>
        <p:sp>
          <p:nvSpPr>
            <p:cNvPr id="183" name="Freeform: Shape 182">
              <a:extLst>
                <a:ext uri="{FF2B5EF4-FFF2-40B4-BE49-F238E27FC236}">
                  <a16:creationId xmlns:a16="http://schemas.microsoft.com/office/drawing/2014/main" id="{9BD9D4C9-303D-41A4-A402-99D2D79FA1F4}"/>
                </a:ext>
              </a:extLst>
            </p:cNvPr>
            <p:cNvSpPr/>
            <p:nvPr/>
          </p:nvSpPr>
          <p:spPr>
            <a:xfrm>
              <a:off x="10419674" y="890707"/>
              <a:ext cx="706415" cy="559158"/>
            </a:xfrm>
            <a:custGeom>
              <a:avLst/>
              <a:gdLst>
                <a:gd name="connsiteX0" fmla="*/ 177502 w 704333"/>
                <a:gd name="connsiteY0" fmla="*/ 49126 h 580325"/>
                <a:gd name="connsiteX1" fmla="*/ 6052 w 704333"/>
                <a:gd name="connsiteY1" fmla="*/ 426316 h 580325"/>
                <a:gd name="connsiteX2" fmla="*/ 428962 w 704333"/>
                <a:gd name="connsiteY2" fmla="*/ 574906 h 580325"/>
                <a:gd name="connsiteX3" fmla="*/ 703282 w 704333"/>
                <a:gd name="connsiteY3" fmla="*/ 254866 h 580325"/>
                <a:gd name="connsiteX4" fmla="*/ 508972 w 704333"/>
                <a:gd name="connsiteY4" fmla="*/ 71986 h 580325"/>
                <a:gd name="connsiteX5" fmla="*/ 154642 w 704333"/>
                <a:gd name="connsiteY5" fmla="*/ 3406 h 580325"/>
                <a:gd name="connsiteX6" fmla="*/ 177502 w 704333"/>
                <a:gd name="connsiteY6" fmla="*/ 49126 h 580325"/>
                <a:gd name="connsiteX0" fmla="*/ 179584 w 706415"/>
                <a:gd name="connsiteY0" fmla="*/ 27959 h 559158"/>
                <a:gd name="connsiteX1" fmla="*/ 8134 w 706415"/>
                <a:gd name="connsiteY1" fmla="*/ 405149 h 559158"/>
                <a:gd name="connsiteX2" fmla="*/ 431044 w 706415"/>
                <a:gd name="connsiteY2" fmla="*/ 553739 h 559158"/>
                <a:gd name="connsiteX3" fmla="*/ 705364 w 706415"/>
                <a:gd name="connsiteY3" fmla="*/ 233699 h 559158"/>
                <a:gd name="connsiteX4" fmla="*/ 511054 w 706415"/>
                <a:gd name="connsiteY4" fmla="*/ 50819 h 559158"/>
                <a:gd name="connsiteX5" fmla="*/ 179584 w 706415"/>
                <a:gd name="connsiteY5" fmla="*/ 27959 h 55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6415" h="559158">
                  <a:moveTo>
                    <a:pt x="179584" y="27959"/>
                  </a:moveTo>
                  <a:cubicBezTo>
                    <a:pt x="95764" y="87014"/>
                    <a:pt x="-33776" y="317519"/>
                    <a:pt x="8134" y="405149"/>
                  </a:cubicBezTo>
                  <a:cubicBezTo>
                    <a:pt x="50044" y="492779"/>
                    <a:pt x="314839" y="582314"/>
                    <a:pt x="431044" y="553739"/>
                  </a:cubicBezTo>
                  <a:cubicBezTo>
                    <a:pt x="547249" y="525164"/>
                    <a:pt x="692029" y="317519"/>
                    <a:pt x="705364" y="233699"/>
                  </a:cubicBezTo>
                  <a:cubicBezTo>
                    <a:pt x="718699" y="149879"/>
                    <a:pt x="602494" y="92729"/>
                    <a:pt x="511054" y="50819"/>
                  </a:cubicBezTo>
                  <a:cubicBezTo>
                    <a:pt x="423424" y="16529"/>
                    <a:pt x="263404" y="-31096"/>
                    <a:pt x="179584" y="279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sp>
          <p:nvSpPr>
            <p:cNvPr id="184" name="Freeform: Shape 183">
              <a:extLst>
                <a:ext uri="{FF2B5EF4-FFF2-40B4-BE49-F238E27FC236}">
                  <a16:creationId xmlns:a16="http://schemas.microsoft.com/office/drawing/2014/main" id="{FF35A2C7-7F7E-49E8-91F3-9D5BBBDCA451}"/>
                </a:ext>
              </a:extLst>
            </p:cNvPr>
            <p:cNvSpPr/>
            <p:nvPr/>
          </p:nvSpPr>
          <p:spPr>
            <a:xfrm>
              <a:off x="10053740" y="592613"/>
              <a:ext cx="289173" cy="267730"/>
            </a:xfrm>
            <a:custGeom>
              <a:avLst/>
              <a:gdLst>
                <a:gd name="connsiteX0" fmla="*/ 31917 w 289173"/>
                <a:gd name="connsiteY0" fmla="*/ 21108 h 267730"/>
                <a:gd name="connsiteX1" fmla="*/ 22392 w 289173"/>
                <a:gd name="connsiteY1" fmla="*/ 259233 h 267730"/>
                <a:gd name="connsiteX2" fmla="*/ 284330 w 289173"/>
                <a:gd name="connsiteY2" fmla="*/ 197321 h 267730"/>
                <a:gd name="connsiteX3" fmla="*/ 179555 w 289173"/>
                <a:gd name="connsiteY3" fmla="*/ 30633 h 267730"/>
                <a:gd name="connsiteX4" fmla="*/ 31917 w 289173"/>
                <a:gd name="connsiteY4" fmla="*/ 21108 h 267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73" h="267730">
                  <a:moveTo>
                    <a:pt x="31917" y="21108"/>
                  </a:moveTo>
                  <a:cubicBezTo>
                    <a:pt x="5723" y="59208"/>
                    <a:pt x="-19677" y="229864"/>
                    <a:pt x="22392" y="259233"/>
                  </a:cubicBezTo>
                  <a:cubicBezTo>
                    <a:pt x="64461" y="288602"/>
                    <a:pt x="258136" y="235421"/>
                    <a:pt x="284330" y="197321"/>
                  </a:cubicBezTo>
                  <a:cubicBezTo>
                    <a:pt x="310524" y="159221"/>
                    <a:pt x="224005" y="58414"/>
                    <a:pt x="179555" y="30633"/>
                  </a:cubicBezTo>
                  <a:cubicBezTo>
                    <a:pt x="135105" y="2852"/>
                    <a:pt x="58111" y="-16992"/>
                    <a:pt x="31917" y="21108"/>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US">
                <a:latin typeface="Calibri" panose="020F0502020204030204" pitchFamily="34" charset="0"/>
              </a:endParaRPr>
            </a:p>
          </p:txBody>
        </p:sp>
      </p:grpSp>
    </p:spTree>
    <p:extLst>
      <p:ext uri="{BB962C8B-B14F-4D97-AF65-F5344CB8AC3E}">
        <p14:creationId xmlns:p14="http://schemas.microsoft.com/office/powerpoint/2010/main" val="320637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A2DCA1-6A7D-46A7-A89B-769FC3023D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E5A2DCA1-6A7D-46A7-A89B-769FC3023D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6" name="TextBox 125">
            <a:extLst>
              <a:ext uri="{FF2B5EF4-FFF2-40B4-BE49-F238E27FC236}">
                <a16:creationId xmlns:a16="http://schemas.microsoft.com/office/drawing/2014/main" id="{3AEF0D66-648A-4DFD-927D-9284DF5BC822}"/>
              </a:ext>
            </a:extLst>
          </p:cNvPr>
          <p:cNvSpPr txBox="1"/>
          <p:nvPr/>
        </p:nvSpPr>
        <p:spPr>
          <a:xfrm>
            <a:off x="2467451" y="2045001"/>
            <a:ext cx="2262251" cy="4812998"/>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115" name="Graphic 113">
            <a:extLst>
              <a:ext uri="{FF2B5EF4-FFF2-40B4-BE49-F238E27FC236}">
                <a16:creationId xmlns:a16="http://schemas.microsoft.com/office/drawing/2014/main" id="{ED0F79AF-D719-4434-B8B8-C6BAD906CCE4}"/>
              </a:ext>
            </a:extLst>
          </p:cNvPr>
          <p:cNvSpPr/>
          <p:nvPr/>
        </p:nvSpPr>
        <p:spPr>
          <a:xfrm rot="16200000" flipH="1" flipV="1">
            <a:off x="-518918" y="1875025"/>
            <a:ext cx="5506067" cy="4459883"/>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3" name="TextBox 102">
            <a:extLst>
              <a:ext uri="{FF2B5EF4-FFF2-40B4-BE49-F238E27FC236}">
                <a16:creationId xmlns:a16="http://schemas.microsoft.com/office/drawing/2014/main" id="{63306E81-2534-46C9-B0C9-8AEE8F3E7140}"/>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11" name="TextBox 10">
            <a:extLst>
              <a:ext uri="{FF2B5EF4-FFF2-40B4-BE49-F238E27FC236}">
                <a16:creationId xmlns:a16="http://schemas.microsoft.com/office/drawing/2014/main" id="{A2520F80-9B1F-46A8-833A-DA2DD88868B7}"/>
              </a:ext>
            </a:extLst>
          </p:cNvPr>
          <p:cNvSpPr txBox="1"/>
          <p:nvPr/>
        </p:nvSpPr>
        <p:spPr>
          <a:xfrm>
            <a:off x="701743" y="731853"/>
            <a:ext cx="3334246" cy="553998"/>
          </a:xfrm>
          <a:prstGeom prst="rect">
            <a:avLst/>
          </a:prstGeom>
          <a:noFill/>
        </p:spPr>
        <p:txBody>
          <a:bodyPr wrap="none" lIns="0" tIns="0" rIns="0" bIns="0" rtlCol="0" anchor="ctr">
            <a:spAutoFit/>
          </a:bodyPr>
          <a:lstStyle>
            <a:defPPr>
              <a:defRPr lang="en-US"/>
            </a:defPPr>
            <a:lvl1pPr>
              <a:defRPr sz="3200" b="1">
                <a:latin typeface="Segoe UI Black" panose="020B0A02040204020203" pitchFamily="34" charset="0"/>
                <a:ea typeface="Segoe UI Black" panose="020B0A02040204020203" pitchFamily="34" charset="0"/>
                <a:cs typeface="Segoe UI" panose="020B0502040204020203" pitchFamily="34" charset="0"/>
              </a:defRPr>
            </a:lvl1pPr>
          </a:lstStyle>
          <a:p>
            <a:r>
              <a:rPr lang="en-US" sz="3600">
                <a:solidFill>
                  <a:schemeClr val="accent1">
                    <a:lumMod val="75000"/>
                  </a:schemeClr>
                </a:solidFill>
                <a:latin typeface="Arial" panose="020B0604020202020204" pitchFamily="34" charset="0"/>
                <a:cs typeface="Arial" panose="020B0604020202020204" pitchFamily="34" charset="0"/>
              </a:rPr>
              <a:t>II. CHẨN ĐOÁN</a:t>
            </a:r>
          </a:p>
        </p:txBody>
      </p:sp>
      <p:sp>
        <p:nvSpPr>
          <p:cNvPr id="96" name="TextBox 95">
            <a:extLst>
              <a:ext uri="{FF2B5EF4-FFF2-40B4-BE49-F238E27FC236}">
                <a16:creationId xmlns:a16="http://schemas.microsoft.com/office/drawing/2014/main" id="{A542D7DD-9479-48A0-BE77-833E70F275EE}"/>
              </a:ext>
            </a:extLst>
          </p:cNvPr>
          <p:cNvSpPr txBox="1"/>
          <p:nvPr/>
        </p:nvSpPr>
        <p:spPr>
          <a:xfrm>
            <a:off x="11189845" y="5971542"/>
            <a:ext cx="1002154" cy="886457"/>
          </a:xfrm>
          <a:custGeom>
            <a:avLst/>
            <a:gdLst>
              <a:gd name="connsiteX0" fmla="*/ 1432902 w 1432902"/>
              <a:gd name="connsiteY0" fmla="*/ 0 h 1267476"/>
              <a:gd name="connsiteX1" fmla="*/ 1432902 w 1432902"/>
              <a:gd name="connsiteY1" fmla="*/ 1267476 h 1267476"/>
              <a:gd name="connsiteX2" fmla="*/ 0 w 1432902"/>
              <a:gd name="connsiteY2" fmla="*/ 1267476 h 1267476"/>
              <a:gd name="connsiteX3" fmla="*/ 31959 w 1432902"/>
              <a:gd name="connsiteY3" fmla="*/ 1217370 h 1267476"/>
              <a:gd name="connsiteX4" fmla="*/ 1076969 w 1432902"/>
              <a:gd name="connsiteY4" fmla="*/ 661355 h 1267476"/>
              <a:gd name="connsiteX5" fmla="*/ 1420932 w 1432902"/>
              <a:gd name="connsiteY5" fmla="*/ 30241 h 126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902" h="1267476">
                <a:moveTo>
                  <a:pt x="1432902" y="0"/>
                </a:moveTo>
                <a:lnTo>
                  <a:pt x="1432902" y="1267476"/>
                </a:lnTo>
                <a:lnTo>
                  <a:pt x="0" y="1267476"/>
                </a:lnTo>
                <a:lnTo>
                  <a:pt x="31959" y="1217370"/>
                </a:lnTo>
                <a:cubicBezTo>
                  <a:pt x="318740" y="823323"/>
                  <a:pt x="833290" y="872666"/>
                  <a:pt x="1076969" y="661355"/>
                </a:cubicBezTo>
                <a:cubicBezTo>
                  <a:pt x="1235401" y="523969"/>
                  <a:pt x="1325734" y="278922"/>
                  <a:pt x="1420932" y="30241"/>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117" name="TextBox 116">
            <a:extLst>
              <a:ext uri="{FF2B5EF4-FFF2-40B4-BE49-F238E27FC236}">
                <a16:creationId xmlns:a16="http://schemas.microsoft.com/office/drawing/2014/main" id="{F0F43D88-7132-4834-A0CB-DC04939A2D34}"/>
              </a:ext>
            </a:extLst>
          </p:cNvPr>
          <p:cNvSpPr txBox="1"/>
          <p:nvPr/>
        </p:nvSpPr>
        <p:spPr>
          <a:xfrm>
            <a:off x="3769569" y="2936429"/>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Calibri" panose="020F0502020204030204" pitchFamily="34" charset="0"/>
            </a:endParaRPr>
          </a:p>
        </p:txBody>
      </p:sp>
      <p:sp>
        <p:nvSpPr>
          <p:cNvPr id="118" name="TextBox 117">
            <a:extLst>
              <a:ext uri="{FF2B5EF4-FFF2-40B4-BE49-F238E27FC236}">
                <a16:creationId xmlns:a16="http://schemas.microsoft.com/office/drawing/2014/main" id="{15EB6D2D-726F-488C-99B2-96F28A6A4260}"/>
              </a:ext>
            </a:extLst>
          </p:cNvPr>
          <p:cNvSpPr txBox="1"/>
          <p:nvPr/>
        </p:nvSpPr>
        <p:spPr>
          <a:xfrm>
            <a:off x="1311998" y="6086660"/>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Calibri" panose="020F0502020204030204" pitchFamily="34" charset="0"/>
            </a:endParaRPr>
          </a:p>
        </p:txBody>
      </p:sp>
      <p:pic>
        <p:nvPicPr>
          <p:cNvPr id="2" name="Picture 4">
            <a:extLst>
              <a:ext uri="{FF2B5EF4-FFF2-40B4-BE49-F238E27FC236}">
                <a16:creationId xmlns:a16="http://schemas.microsoft.com/office/drawing/2014/main" id="{944EAD7B-5AFD-550C-CAE3-0A5F1EE1883F}"/>
              </a:ext>
            </a:extLst>
          </p:cNvPr>
          <p:cNvPicPr>
            <a:picLocks noChangeAspect="1"/>
          </p:cNvPicPr>
          <p:nvPr/>
        </p:nvPicPr>
        <p:blipFill>
          <a:blip r:embed="rId6"/>
          <a:stretch>
            <a:fillRect/>
          </a:stretch>
        </p:blipFill>
        <p:spPr>
          <a:xfrm>
            <a:off x="1311998" y="2501164"/>
            <a:ext cx="7761913" cy="4060843"/>
          </a:xfrm>
          <a:prstGeom prst="rect">
            <a:avLst/>
          </a:prstGeom>
        </p:spPr>
      </p:pic>
      <p:pic>
        <p:nvPicPr>
          <p:cNvPr id="3" name="Picture 36" descr="A picture containing text, clipart&#10;&#10;Description automatically generated">
            <a:extLst>
              <a:ext uri="{FF2B5EF4-FFF2-40B4-BE49-F238E27FC236}">
                <a16:creationId xmlns:a16="http://schemas.microsoft.com/office/drawing/2014/main" id="{8647AA6E-708B-A747-5D30-345ABCE1AE31}"/>
              </a:ext>
            </a:extLst>
          </p:cNvPr>
          <p:cNvPicPr>
            <a:picLocks noChangeAspect="1"/>
          </p:cNvPicPr>
          <p:nvPr/>
        </p:nvPicPr>
        <p:blipFill>
          <a:blip r:embed="rId7"/>
          <a:stretch>
            <a:fillRect/>
          </a:stretch>
        </p:blipFill>
        <p:spPr>
          <a:xfrm>
            <a:off x="9269818" y="2757906"/>
            <a:ext cx="1087121" cy="914400"/>
          </a:xfrm>
          <a:prstGeom prst="ellipse">
            <a:avLst/>
          </a:prstGeom>
          <a:noFill/>
          <a:ln w="63500">
            <a:solidFill>
              <a:srgbClr val="56ABC3"/>
            </a:solidFill>
          </a:ln>
          <a:effectLst>
            <a:outerShdw blurRad="50800" dist="38100" dir="8100000" algn="tr" rotWithShape="0">
              <a:prstClr val="black">
                <a:alpha val="40000"/>
              </a:prstClr>
            </a:outerShdw>
          </a:effectLst>
        </p:spPr>
      </p:pic>
      <p:pic>
        <p:nvPicPr>
          <p:cNvPr id="4" name="Picture 37" descr="Icon&#10;&#10;Description automatically generated">
            <a:extLst>
              <a:ext uri="{FF2B5EF4-FFF2-40B4-BE49-F238E27FC236}">
                <a16:creationId xmlns:a16="http://schemas.microsoft.com/office/drawing/2014/main" id="{680B213A-CF04-22E6-C0C7-624611E31B8E}"/>
              </a:ext>
            </a:extLst>
          </p:cNvPr>
          <p:cNvPicPr>
            <a:picLocks noChangeAspect="1"/>
          </p:cNvPicPr>
          <p:nvPr/>
        </p:nvPicPr>
        <p:blipFill>
          <a:blip r:embed="rId8"/>
          <a:stretch>
            <a:fillRect/>
          </a:stretch>
        </p:blipFill>
        <p:spPr>
          <a:xfrm>
            <a:off x="10911959" y="3160034"/>
            <a:ext cx="1049314" cy="1143752"/>
          </a:xfrm>
          <a:prstGeom prst="ellipse">
            <a:avLst/>
          </a:prstGeom>
          <a:ln w="63500">
            <a:solidFill>
              <a:srgbClr val="56ABC3"/>
            </a:solidFill>
          </a:ln>
          <a:effectLst>
            <a:outerShdw blurRad="50800" dist="38100" dir="8100000" algn="tr" rotWithShape="0">
              <a:prstClr val="black">
                <a:alpha val="40000"/>
              </a:prstClr>
            </a:outerShdw>
          </a:effectLst>
        </p:spPr>
      </p:pic>
      <p:pic>
        <p:nvPicPr>
          <p:cNvPr id="7" name="Picture 39" descr="Icon&#10;&#10;Description automatically generated">
            <a:extLst>
              <a:ext uri="{FF2B5EF4-FFF2-40B4-BE49-F238E27FC236}">
                <a16:creationId xmlns:a16="http://schemas.microsoft.com/office/drawing/2014/main" id="{9B8CA828-C0AD-A966-DC51-BD326F8B5726}"/>
              </a:ext>
            </a:extLst>
          </p:cNvPr>
          <p:cNvPicPr>
            <a:picLocks noChangeAspect="1"/>
          </p:cNvPicPr>
          <p:nvPr/>
        </p:nvPicPr>
        <p:blipFill rotWithShape="1">
          <a:blip r:embed="rId9"/>
          <a:srcRect l="9107" t="11841" r="4081" b="13390"/>
          <a:stretch/>
        </p:blipFill>
        <p:spPr>
          <a:xfrm>
            <a:off x="10686248" y="1617145"/>
            <a:ext cx="1007194" cy="991388"/>
          </a:xfrm>
          <a:prstGeom prst="ellipse">
            <a:avLst/>
          </a:prstGeom>
          <a:ln w="63500">
            <a:solidFill>
              <a:srgbClr val="56ABC3"/>
            </a:solidFill>
          </a:ln>
          <a:effectLst>
            <a:outerShdw blurRad="50800" dist="38100" dir="8100000" algn="tr" rotWithShape="0">
              <a:prstClr val="black">
                <a:alpha val="40000"/>
              </a:prstClr>
            </a:outerShdw>
          </a:effectLst>
        </p:spPr>
      </p:pic>
      <p:pic>
        <p:nvPicPr>
          <p:cNvPr id="8" name="Picture 41">
            <a:extLst>
              <a:ext uri="{FF2B5EF4-FFF2-40B4-BE49-F238E27FC236}">
                <a16:creationId xmlns:a16="http://schemas.microsoft.com/office/drawing/2014/main" id="{E0689C6A-990E-8E7D-2100-8497A254FAA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89496" y="4594340"/>
            <a:ext cx="1134886" cy="1143752"/>
          </a:xfrm>
          <a:prstGeom prst="ellipse">
            <a:avLst/>
          </a:prstGeom>
          <a:ln w="63500" cap="rnd">
            <a:solidFill>
              <a:srgbClr val="56ABC3"/>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12" name="TextBox 12">
            <a:extLst>
              <a:ext uri="{FF2B5EF4-FFF2-40B4-BE49-F238E27FC236}">
                <a16:creationId xmlns:a16="http://schemas.microsoft.com/office/drawing/2014/main" id="{95C9A70B-11FC-CF0A-85ED-99678F2F6FDB}"/>
              </a:ext>
            </a:extLst>
          </p:cNvPr>
          <p:cNvSpPr txBox="1"/>
          <p:nvPr/>
        </p:nvSpPr>
        <p:spPr>
          <a:xfrm>
            <a:off x="708027" y="492663"/>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sym typeface="Calibri" panose="020F0502020204030204" pitchFamily="34" charset="0"/>
            </a:endParaRPr>
          </a:p>
        </p:txBody>
      </p:sp>
      <p:sp>
        <p:nvSpPr>
          <p:cNvPr id="13" name="Hộp Văn bản 12">
            <a:extLst>
              <a:ext uri="{FF2B5EF4-FFF2-40B4-BE49-F238E27FC236}">
                <a16:creationId xmlns:a16="http://schemas.microsoft.com/office/drawing/2014/main" id="{63DA71CE-3A6B-7A5A-BE76-D90E57701A90}"/>
              </a:ext>
            </a:extLst>
          </p:cNvPr>
          <p:cNvSpPr txBox="1"/>
          <p:nvPr/>
        </p:nvSpPr>
        <p:spPr>
          <a:xfrm>
            <a:off x="1361768" y="1681952"/>
            <a:ext cx="4336667" cy="523220"/>
          </a:xfrm>
          <a:prstGeom prst="rect">
            <a:avLst/>
          </a:prstGeom>
          <a:noFill/>
        </p:spPr>
        <p:txBody>
          <a:bodyPr wrap="square" rtlCol="0">
            <a:spAutoFit/>
          </a:bodyPr>
          <a:lstStyle/>
          <a:p>
            <a:r>
              <a:rPr lang="vi-VN" sz="2800">
                <a:latin typeface="Arial" panose="020B0604020202020204" pitchFamily="34" charset="0"/>
                <a:cs typeface="Arial" panose="020B0604020202020204" pitchFamily="34" charset="0"/>
              </a:rPr>
              <a:t>Biểu hiện lâm sàng </a:t>
            </a: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98675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Đường nối Thẳng 13">
            <a:extLst>
              <a:ext uri="{FF2B5EF4-FFF2-40B4-BE49-F238E27FC236}">
                <a16:creationId xmlns:a16="http://schemas.microsoft.com/office/drawing/2014/main" id="{36EA97E5-E966-CE69-0E4F-C9FD865E4F53}"/>
              </a:ext>
            </a:extLst>
          </p:cNvPr>
          <p:cNvCxnSpPr>
            <a:cxnSpLocks/>
          </p:cNvCxnSpPr>
          <p:nvPr/>
        </p:nvCxnSpPr>
        <p:spPr>
          <a:xfrm>
            <a:off x="3443144" y="2344379"/>
            <a:ext cx="0" cy="3879669"/>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6" name="Object 5" hidden="1">
            <a:extLst>
              <a:ext uri="{FF2B5EF4-FFF2-40B4-BE49-F238E27FC236}">
                <a16:creationId xmlns:a16="http://schemas.microsoft.com/office/drawing/2014/main" id="{E5A2DCA1-6A7D-46A7-A89B-769FC3023D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E5A2DCA1-6A7D-46A7-A89B-769FC3023D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6" name="TextBox 125">
            <a:extLst>
              <a:ext uri="{FF2B5EF4-FFF2-40B4-BE49-F238E27FC236}">
                <a16:creationId xmlns:a16="http://schemas.microsoft.com/office/drawing/2014/main" id="{3AEF0D66-648A-4DFD-927D-9284DF5BC822}"/>
              </a:ext>
            </a:extLst>
          </p:cNvPr>
          <p:cNvSpPr txBox="1"/>
          <p:nvPr/>
        </p:nvSpPr>
        <p:spPr>
          <a:xfrm>
            <a:off x="2467451" y="1909334"/>
            <a:ext cx="7116968" cy="5014747"/>
          </a:xfrm>
          <a:custGeom>
            <a:avLst/>
            <a:gdLst>
              <a:gd name="connsiteX0" fmla="*/ 1085345 w 2984457"/>
              <a:gd name="connsiteY0" fmla="*/ 598 h 4995502"/>
              <a:gd name="connsiteX1" fmla="*/ 2722363 w 2984457"/>
              <a:gd name="connsiteY1" fmla="*/ 990627 h 4995502"/>
              <a:gd name="connsiteX2" fmla="*/ 2355571 w 2984457"/>
              <a:gd name="connsiteY2" fmla="*/ 3330998 h 4995502"/>
              <a:gd name="connsiteX3" fmla="*/ 2970579 w 2984457"/>
              <a:gd name="connsiteY3" fmla="*/ 4901878 h 4995502"/>
              <a:gd name="connsiteX4" fmla="*/ 2946894 w 2984457"/>
              <a:gd name="connsiteY4" fmla="*/ 4995502 h 4995502"/>
              <a:gd name="connsiteX5" fmla="*/ 0 w 2984457"/>
              <a:gd name="connsiteY5" fmla="*/ 4995502 h 4995502"/>
              <a:gd name="connsiteX6" fmla="*/ 0 w 2984457"/>
              <a:gd name="connsiteY6" fmla="*/ 12497 h 4995502"/>
              <a:gd name="connsiteX7" fmla="*/ 85017 w 2984457"/>
              <a:gd name="connsiteY7" fmla="*/ 34489 h 4995502"/>
              <a:gd name="connsiteX8" fmla="*/ 377167 w 2984457"/>
              <a:gd name="connsiteY8" fmla="*/ 46323 h 4995502"/>
              <a:gd name="connsiteX9" fmla="*/ 1085345 w 2984457"/>
              <a:gd name="connsiteY9" fmla="*/ 598 h 499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4457" h="4995502">
                <a:moveTo>
                  <a:pt x="1085345" y="598"/>
                </a:moveTo>
                <a:cubicBezTo>
                  <a:pt x="1712384" y="11961"/>
                  <a:pt x="2476903" y="190804"/>
                  <a:pt x="2722363" y="990627"/>
                </a:cubicBezTo>
                <a:cubicBezTo>
                  <a:pt x="3116952" y="2529811"/>
                  <a:pt x="1884934" y="2208758"/>
                  <a:pt x="2355571" y="3330998"/>
                </a:cubicBezTo>
                <a:cubicBezTo>
                  <a:pt x="2596549" y="3864939"/>
                  <a:pt x="3071549" y="4329900"/>
                  <a:pt x="2970579" y="4901878"/>
                </a:cubicBezTo>
                <a:lnTo>
                  <a:pt x="2946894" y="4995502"/>
                </a:lnTo>
                <a:lnTo>
                  <a:pt x="0" y="4995502"/>
                </a:lnTo>
                <a:lnTo>
                  <a:pt x="0" y="12497"/>
                </a:lnTo>
                <a:lnTo>
                  <a:pt x="85017" y="34489"/>
                </a:lnTo>
                <a:cubicBezTo>
                  <a:pt x="180177" y="54144"/>
                  <a:pt x="277535" y="59134"/>
                  <a:pt x="377167" y="46323"/>
                </a:cubicBezTo>
                <a:cubicBezTo>
                  <a:pt x="543716" y="24871"/>
                  <a:pt x="800328" y="-4567"/>
                  <a:pt x="1085345" y="598"/>
                </a:cubicBezTo>
                <a:close/>
              </a:path>
            </a:pathLst>
          </a:custGeom>
          <a:gradFill flip="none" rotWithShape="1">
            <a:gsLst>
              <a:gs pos="0">
                <a:srgbClr val="51A7C2">
                  <a:alpha val="25000"/>
                </a:srgbClr>
              </a:gs>
              <a:gs pos="76000">
                <a:srgbClr val="B5F6DA">
                  <a:alpha val="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115" name="Graphic 113">
            <a:extLst>
              <a:ext uri="{FF2B5EF4-FFF2-40B4-BE49-F238E27FC236}">
                <a16:creationId xmlns:a16="http://schemas.microsoft.com/office/drawing/2014/main" id="{ED0F79AF-D719-4434-B8B8-C6BAD906CCE4}"/>
              </a:ext>
            </a:extLst>
          </p:cNvPr>
          <p:cNvSpPr/>
          <p:nvPr/>
        </p:nvSpPr>
        <p:spPr>
          <a:xfrm rot="16200000" flipH="1" flipV="1">
            <a:off x="-1399226" y="2755332"/>
            <a:ext cx="5506067" cy="2699269"/>
          </a:xfrm>
          <a:custGeom>
            <a:avLst/>
            <a:gdLst>
              <a:gd name="connsiteX0" fmla="*/ 176625 w 6624627"/>
              <a:gd name="connsiteY0" fmla="*/ 4054192 h 4054192"/>
              <a:gd name="connsiteX1" fmla="*/ 329169 w 6624627"/>
              <a:gd name="connsiteY1" fmla="*/ 3152662 h 4054192"/>
              <a:gd name="connsiteX2" fmla="*/ 1355785 w 6624627"/>
              <a:gd name="connsiteY2" fmla="*/ 2000960 h 4054192"/>
              <a:gd name="connsiteX3" fmla="*/ 2650877 w 6624627"/>
              <a:gd name="connsiteY3" fmla="*/ 4169 h 4054192"/>
              <a:gd name="connsiteX4" fmla="*/ 4725464 w 6624627"/>
              <a:gd name="connsiteY4" fmla="*/ 779089 h 4054192"/>
              <a:gd name="connsiteX5" fmla="*/ 6624628 w 6624627"/>
              <a:gd name="connsiteY5" fmla="*/ 737902 h 4054192"/>
              <a:gd name="connsiteX6" fmla="*/ 6624628 w 6624627"/>
              <a:gd name="connsiteY6" fmla="*/ 4054192 h 4054192"/>
              <a:gd name="connsiteX7" fmla="*/ 176625 w 6624627"/>
              <a:gd name="connsiteY7" fmla="*/ 4054192 h 405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4627" h="4054192">
                <a:moveTo>
                  <a:pt x="176625" y="4054192"/>
                </a:moveTo>
                <a:cubicBezTo>
                  <a:pt x="176625" y="4054192"/>
                  <a:pt x="-308462" y="3605715"/>
                  <a:pt x="329169" y="3152662"/>
                </a:cubicBezTo>
                <a:cubicBezTo>
                  <a:pt x="834087" y="2856728"/>
                  <a:pt x="1320700" y="2505879"/>
                  <a:pt x="1355785" y="2000960"/>
                </a:cubicBezTo>
                <a:cubicBezTo>
                  <a:pt x="1390869" y="1494517"/>
                  <a:pt x="1520531" y="118577"/>
                  <a:pt x="2650877" y="4169"/>
                </a:cubicBezTo>
                <a:cubicBezTo>
                  <a:pt x="4132071" y="-75153"/>
                  <a:pt x="3611899" y="1006379"/>
                  <a:pt x="4725464" y="779089"/>
                </a:cubicBezTo>
                <a:cubicBezTo>
                  <a:pt x="5381400" y="626546"/>
                  <a:pt x="6006828" y="126204"/>
                  <a:pt x="6624628" y="737902"/>
                </a:cubicBezTo>
                <a:lnTo>
                  <a:pt x="6624628" y="4054192"/>
                </a:lnTo>
                <a:lnTo>
                  <a:pt x="176625" y="4054192"/>
                </a:lnTo>
                <a:close/>
              </a:path>
            </a:pathLst>
          </a:custGeom>
          <a:gradFill flip="none" rotWithShape="1">
            <a:gsLst>
              <a:gs pos="10000">
                <a:srgbClr val="51A7C2"/>
              </a:gs>
              <a:gs pos="100000">
                <a:srgbClr val="B5F6DA"/>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lt1"/>
              </a:solidFill>
              <a:latin typeface="Calibri" panose="020F0502020204030204" pitchFamily="34" charset="0"/>
            </a:endParaRPr>
          </a:p>
        </p:txBody>
      </p:sp>
      <p:sp>
        <p:nvSpPr>
          <p:cNvPr id="103" name="TextBox 102">
            <a:extLst>
              <a:ext uri="{FF2B5EF4-FFF2-40B4-BE49-F238E27FC236}">
                <a16:creationId xmlns:a16="http://schemas.microsoft.com/office/drawing/2014/main" id="{63306E81-2534-46C9-B0C9-8AEE8F3E7140}"/>
              </a:ext>
            </a:extLst>
          </p:cNvPr>
          <p:cNvSpPr txBox="1"/>
          <p:nvPr/>
        </p:nvSpPr>
        <p:spPr>
          <a:xfrm rot="10800000" flipV="1">
            <a:off x="835004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96" name="TextBox 95">
            <a:extLst>
              <a:ext uri="{FF2B5EF4-FFF2-40B4-BE49-F238E27FC236}">
                <a16:creationId xmlns:a16="http://schemas.microsoft.com/office/drawing/2014/main" id="{A542D7DD-9479-48A0-BE77-833E70F275EE}"/>
              </a:ext>
            </a:extLst>
          </p:cNvPr>
          <p:cNvSpPr txBox="1"/>
          <p:nvPr/>
        </p:nvSpPr>
        <p:spPr>
          <a:xfrm>
            <a:off x="11189845" y="5971542"/>
            <a:ext cx="1002154" cy="886457"/>
          </a:xfrm>
          <a:custGeom>
            <a:avLst/>
            <a:gdLst>
              <a:gd name="connsiteX0" fmla="*/ 1432902 w 1432902"/>
              <a:gd name="connsiteY0" fmla="*/ 0 h 1267476"/>
              <a:gd name="connsiteX1" fmla="*/ 1432902 w 1432902"/>
              <a:gd name="connsiteY1" fmla="*/ 1267476 h 1267476"/>
              <a:gd name="connsiteX2" fmla="*/ 0 w 1432902"/>
              <a:gd name="connsiteY2" fmla="*/ 1267476 h 1267476"/>
              <a:gd name="connsiteX3" fmla="*/ 31959 w 1432902"/>
              <a:gd name="connsiteY3" fmla="*/ 1217370 h 1267476"/>
              <a:gd name="connsiteX4" fmla="*/ 1076969 w 1432902"/>
              <a:gd name="connsiteY4" fmla="*/ 661355 h 1267476"/>
              <a:gd name="connsiteX5" fmla="*/ 1420932 w 1432902"/>
              <a:gd name="connsiteY5" fmla="*/ 30241 h 126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902" h="1267476">
                <a:moveTo>
                  <a:pt x="1432902" y="0"/>
                </a:moveTo>
                <a:lnTo>
                  <a:pt x="1432902" y="1267476"/>
                </a:lnTo>
                <a:lnTo>
                  <a:pt x="0" y="1267476"/>
                </a:lnTo>
                <a:lnTo>
                  <a:pt x="31959" y="1217370"/>
                </a:lnTo>
                <a:cubicBezTo>
                  <a:pt x="318740" y="823323"/>
                  <a:pt x="833290" y="872666"/>
                  <a:pt x="1076969" y="661355"/>
                </a:cubicBezTo>
                <a:cubicBezTo>
                  <a:pt x="1235401" y="523969"/>
                  <a:pt x="1325734" y="278922"/>
                  <a:pt x="1420932" y="30241"/>
                </a:cubicBez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117" name="TextBox 116">
            <a:extLst>
              <a:ext uri="{FF2B5EF4-FFF2-40B4-BE49-F238E27FC236}">
                <a16:creationId xmlns:a16="http://schemas.microsoft.com/office/drawing/2014/main" id="{F0F43D88-7132-4834-A0CB-DC04939A2D34}"/>
              </a:ext>
            </a:extLst>
          </p:cNvPr>
          <p:cNvSpPr txBox="1"/>
          <p:nvPr/>
        </p:nvSpPr>
        <p:spPr>
          <a:xfrm>
            <a:off x="3301701" y="3850264"/>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118" name="TextBox 117">
            <a:extLst>
              <a:ext uri="{FF2B5EF4-FFF2-40B4-BE49-F238E27FC236}">
                <a16:creationId xmlns:a16="http://schemas.microsoft.com/office/drawing/2014/main" id="{15EB6D2D-726F-488C-99B2-96F28A6A4260}"/>
              </a:ext>
            </a:extLst>
          </p:cNvPr>
          <p:cNvSpPr txBox="1"/>
          <p:nvPr/>
        </p:nvSpPr>
        <p:spPr>
          <a:xfrm>
            <a:off x="3303806" y="2670537"/>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grpSp>
        <p:nvGrpSpPr>
          <p:cNvPr id="9" name="Nhóm 8">
            <a:extLst>
              <a:ext uri="{FF2B5EF4-FFF2-40B4-BE49-F238E27FC236}">
                <a16:creationId xmlns:a16="http://schemas.microsoft.com/office/drawing/2014/main" id="{5212646F-A27D-2071-F87E-B4525623F1B2}"/>
              </a:ext>
            </a:extLst>
          </p:cNvPr>
          <p:cNvGrpSpPr/>
          <p:nvPr/>
        </p:nvGrpSpPr>
        <p:grpSpPr>
          <a:xfrm>
            <a:off x="701743" y="492663"/>
            <a:ext cx="3334246" cy="793188"/>
            <a:chOff x="701743" y="492663"/>
            <a:chExt cx="3334246" cy="793188"/>
          </a:xfrm>
        </p:grpSpPr>
        <p:sp>
          <p:nvSpPr>
            <p:cNvPr id="11" name="TextBox 10">
              <a:extLst>
                <a:ext uri="{FF2B5EF4-FFF2-40B4-BE49-F238E27FC236}">
                  <a16:creationId xmlns:a16="http://schemas.microsoft.com/office/drawing/2014/main" id="{A2520F80-9B1F-46A8-833A-DA2DD88868B7}"/>
                </a:ext>
              </a:extLst>
            </p:cNvPr>
            <p:cNvSpPr txBox="1">
              <a:spLocks/>
            </p:cNvSpPr>
            <p:nvPr/>
          </p:nvSpPr>
          <p:spPr>
            <a:xfrm>
              <a:off x="701743" y="731853"/>
              <a:ext cx="3334246" cy="553998"/>
            </a:xfrm>
            <a:prstGeom prst="rect">
              <a:avLst/>
            </a:prstGeom>
            <a:noFill/>
          </p:spPr>
          <p:txBody>
            <a:bodyPr wrap="none" lIns="0" tIns="0" rIns="0" bIns="0" rtlCol="0" anchor="ctr">
              <a:spAutoFit/>
            </a:bodyPr>
            <a:lstStyle>
              <a:defPPr>
                <a:defRPr lang="en-US"/>
              </a:defPPr>
              <a:lvl1pPr>
                <a:defRPr sz="3200" b="1">
                  <a:latin typeface="Segoe UI Black" panose="020B0A02040204020203" pitchFamily="34" charset="0"/>
                  <a:ea typeface="Segoe UI Black" panose="020B0A02040204020203" pitchFamily="34" charset="0"/>
                  <a:cs typeface="Segoe UI" panose="020B0502040204020203" pitchFamily="34" charset="0"/>
                </a:defRPr>
              </a:lvl1pPr>
            </a:lstStyle>
            <a:p>
              <a:r>
                <a:rPr lang="en-US" sz="3600" dirty="0">
                  <a:solidFill>
                    <a:schemeClr val="accent1">
                      <a:lumMod val="75000"/>
                    </a:schemeClr>
                  </a:solidFill>
                  <a:latin typeface="Arial" panose="020B0604020202020204" pitchFamily="34" charset="0"/>
                  <a:cs typeface="Arial" panose="020B0604020202020204" pitchFamily="34" charset="0"/>
                </a:rPr>
                <a:t>II. CHẨN ĐOÁN</a:t>
              </a:r>
            </a:p>
          </p:txBody>
        </p:sp>
        <p:sp>
          <p:nvSpPr>
            <p:cNvPr id="12" name="TextBox 12">
              <a:extLst>
                <a:ext uri="{FF2B5EF4-FFF2-40B4-BE49-F238E27FC236}">
                  <a16:creationId xmlns:a16="http://schemas.microsoft.com/office/drawing/2014/main" id="{95C9A70B-11FC-CF0A-85ED-99678F2F6FDB}"/>
                </a:ext>
              </a:extLst>
            </p:cNvPr>
            <p:cNvSpPr txBox="1">
              <a:spLocks/>
            </p:cNvSpPr>
            <p:nvPr/>
          </p:nvSpPr>
          <p:spPr>
            <a:xfrm>
              <a:off x="708027" y="492663"/>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b="1">
                <a:latin typeface="Arial" panose="020B0604020202020204" pitchFamily="34" charset="0"/>
                <a:cs typeface="Arial" panose="020B0604020202020204" pitchFamily="34" charset="0"/>
                <a:sym typeface="Calibri" panose="020F0502020204030204" pitchFamily="34" charset="0"/>
              </a:endParaRPr>
            </a:p>
          </p:txBody>
        </p:sp>
      </p:grpSp>
      <p:sp>
        <p:nvSpPr>
          <p:cNvPr id="13" name="Hộp Văn bản 12">
            <a:extLst>
              <a:ext uri="{FF2B5EF4-FFF2-40B4-BE49-F238E27FC236}">
                <a16:creationId xmlns:a16="http://schemas.microsoft.com/office/drawing/2014/main" id="{63DA71CE-3A6B-7A5A-BE76-D90E57701A90}"/>
              </a:ext>
            </a:extLst>
          </p:cNvPr>
          <p:cNvSpPr txBox="1"/>
          <p:nvPr/>
        </p:nvSpPr>
        <p:spPr>
          <a:xfrm>
            <a:off x="1361768" y="1681952"/>
            <a:ext cx="4336667" cy="523220"/>
          </a:xfrm>
          <a:prstGeom prst="rect">
            <a:avLst/>
          </a:prstGeom>
          <a:noFill/>
        </p:spPr>
        <p:txBody>
          <a:bodyPr wrap="square" rtlCol="0">
            <a:spAutoFit/>
          </a:bodyPr>
          <a:lstStyle/>
          <a:p>
            <a:r>
              <a:rPr lang="vi-VN" sz="2800" dirty="0">
                <a:latin typeface="Arial" panose="020B0604020202020204" pitchFamily="34" charset="0"/>
                <a:cs typeface="Arial" panose="020B0604020202020204" pitchFamily="34" charset="0"/>
              </a:rPr>
              <a:t>Biểu hiện lâm sàng </a:t>
            </a:r>
            <a:endParaRPr lang="en-US" sz="2800" dirty="0">
              <a:latin typeface="Arial" panose="020B0604020202020204" pitchFamily="34" charset="0"/>
              <a:cs typeface="Arial" panose="020B0604020202020204" pitchFamily="34" charset="0"/>
            </a:endParaRPr>
          </a:p>
        </p:txBody>
      </p:sp>
      <p:sp>
        <p:nvSpPr>
          <p:cNvPr id="5" name="Google Shape;3303;p69">
            <a:extLst>
              <a:ext uri="{FF2B5EF4-FFF2-40B4-BE49-F238E27FC236}">
                <a16:creationId xmlns:a16="http://schemas.microsoft.com/office/drawing/2014/main" id="{0F147420-BF4D-A635-B6E1-42A2EE6D06FB}"/>
              </a:ext>
            </a:extLst>
          </p:cNvPr>
          <p:cNvSpPr/>
          <p:nvPr/>
        </p:nvSpPr>
        <p:spPr>
          <a:xfrm>
            <a:off x="3442653" y="2205172"/>
            <a:ext cx="6271998" cy="4500428"/>
          </a:xfrm>
          <a:prstGeom prst="roundRect">
            <a:avLst>
              <a:gd name="adj" fmla="val 10516"/>
            </a:avLst>
          </a:prstGeom>
          <a:noFill/>
          <a:ln w="19050" cap="flat" cmpd="dbl">
            <a:noFill/>
            <a:prstDash val="solid"/>
            <a:round/>
            <a:headEnd type="none" w="sm" len="sm"/>
            <a:tailEnd type="none" w="sm" len="sm"/>
          </a:ln>
        </p:spPr>
        <p:txBody>
          <a:bodyPr spcFirstLastPara="1" wrap="square" lIns="162000" tIns="234000" rIns="162000" bIns="234000" anchor="t" anchorCtr="0">
            <a:noAutofit/>
          </a:bodyPr>
          <a:lstStyle/>
          <a:p>
            <a:pPr>
              <a:lnSpc>
                <a:spcPct val="150000"/>
              </a:lnSpc>
            </a:pPr>
            <a:r>
              <a:rPr lang="en-US" sz="1800" dirty="0" err="1">
                <a:latin typeface="Arial" panose="020B0604020202020204" pitchFamily="34" charset="0"/>
                <a:cs typeface="Arial" panose="020B0604020202020204" pitchFamily="34" charset="0"/>
              </a:rPr>
              <a:t>Hội</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chứng</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vàng</a:t>
            </a:r>
            <a:r>
              <a:rPr lang="en-US" sz="1800" dirty="0">
                <a:latin typeface="Arial" panose="020B0604020202020204" pitchFamily="34" charset="0"/>
                <a:cs typeface="Arial" panose="020B0604020202020204" pitchFamily="34" charset="0"/>
              </a:rPr>
              <a:t> da </a:t>
            </a:r>
            <a:r>
              <a:rPr lang="en-US" sz="1800" dirty="0" err="1">
                <a:latin typeface="Arial" panose="020B0604020202020204" pitchFamily="34" charset="0"/>
                <a:cs typeface="Arial" panose="020B0604020202020204" pitchFamily="34" charset="0"/>
              </a:rPr>
              <a:t>tắc</a:t>
            </a:r>
            <a:r>
              <a:rPr lang="en-US" sz="1800" dirty="0">
                <a:latin typeface="Arial" panose="020B0604020202020204" pitchFamily="34" charset="0"/>
                <a:cs typeface="Arial" panose="020B0604020202020204" pitchFamily="34" charset="0"/>
              </a:rPr>
              <a:t> </a:t>
            </a:r>
            <a:r>
              <a:rPr lang="vi-VN" sz="1800" dirty="0">
                <a:latin typeface="Arial" panose="020B0604020202020204" pitchFamily="34" charset="0"/>
                <a:cs typeface="Arial" panose="020B0604020202020204" pitchFamily="34" charset="0"/>
              </a:rPr>
              <a:t>mật: kết mạc mắt vàng, sang thương da do cào gãi,..</a:t>
            </a:r>
            <a:endParaRPr lang="en-US" sz="1800" dirty="0">
              <a:latin typeface="Arial" panose="020B0604020202020204" pitchFamily="34" charset="0"/>
              <a:cs typeface="Arial" panose="020B0604020202020204" pitchFamily="34" charset="0"/>
            </a:endParaRPr>
          </a:p>
          <a:p>
            <a:pPr>
              <a:lnSpc>
                <a:spcPct val="150000"/>
              </a:lnSpc>
            </a:pPr>
            <a:endParaRPr lang="en-US" sz="1800" dirty="0">
              <a:latin typeface="Arial" panose="020B0604020202020204" pitchFamily="34" charset="0"/>
              <a:cs typeface="Arial" panose="020B0604020202020204" pitchFamily="34" charset="0"/>
            </a:endParaRPr>
          </a:p>
          <a:p>
            <a:pPr>
              <a:lnSpc>
                <a:spcPct val="150000"/>
              </a:lnSpc>
            </a:pPr>
            <a:r>
              <a:rPr lang="en-US" sz="1800" dirty="0" err="1">
                <a:latin typeface="Arial" panose="020B0604020202020204" pitchFamily="34" charset="0"/>
                <a:cs typeface="Arial" panose="020B0604020202020204" pitchFamily="34" charset="0"/>
              </a:rPr>
              <a:t>Túi</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mật</a:t>
            </a:r>
            <a:r>
              <a:rPr lang="en-US" sz="1800" dirty="0">
                <a:latin typeface="Arial" panose="020B0604020202020204" pitchFamily="34" charset="0"/>
                <a:cs typeface="Arial" panose="020B0604020202020204" pitchFamily="34" charset="0"/>
              </a:rPr>
              <a:t> to </a:t>
            </a:r>
            <a:r>
              <a:rPr lang="en-US" sz="1800" dirty="0" err="1">
                <a:latin typeface="Arial" panose="020B0604020202020204" pitchFamily="34" charset="0"/>
                <a:cs typeface="Arial" panose="020B0604020202020204" pitchFamily="34" charset="0"/>
              </a:rPr>
              <a:t>sờ</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thấy</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và</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không</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đau</a:t>
            </a:r>
            <a:r>
              <a:rPr lang="en-US" sz="1800" dirty="0">
                <a:latin typeface="Arial" panose="020B0604020202020204" pitchFamily="34" charset="0"/>
                <a:cs typeface="Arial" panose="020B0604020202020204" pitchFamily="34" charset="0"/>
              </a:rPr>
              <a:t>: </a:t>
            </a:r>
            <a:r>
              <a:rPr lang="en-US" sz="1800" b="1" dirty="0" err="1">
                <a:latin typeface="Arial" panose="020B0604020202020204" pitchFamily="34" charset="0"/>
                <a:cs typeface="Arial" panose="020B0604020202020204" pitchFamily="34" charset="0"/>
              </a:rPr>
              <a:t>Định</a:t>
            </a:r>
            <a:r>
              <a:rPr lang="en-US" sz="1800" b="1" dirty="0">
                <a:latin typeface="Arial" panose="020B0604020202020204" pitchFamily="34" charset="0"/>
                <a:cs typeface="Arial" panose="020B0604020202020204" pitchFamily="34" charset="0"/>
              </a:rPr>
              <a:t> </a:t>
            </a:r>
            <a:r>
              <a:rPr lang="en-US" sz="1800" b="1" dirty="0" err="1">
                <a:latin typeface="Arial" panose="020B0604020202020204" pitchFamily="34" charset="0"/>
                <a:cs typeface="Arial" panose="020B0604020202020204" pitchFamily="34" charset="0"/>
              </a:rPr>
              <a:t>luật</a:t>
            </a:r>
            <a:r>
              <a:rPr lang="en-US" sz="1800" b="1" dirty="0">
                <a:latin typeface="Arial" panose="020B0604020202020204" pitchFamily="34" charset="0"/>
                <a:cs typeface="Arial" panose="020B0604020202020204" pitchFamily="34" charset="0"/>
              </a:rPr>
              <a:t> C</a:t>
            </a:r>
            <a:r>
              <a:rPr lang="vi-VN" sz="1800" b="1" dirty="0">
                <a:latin typeface="Arial" panose="020B0604020202020204" pitchFamily="34" charset="0"/>
                <a:cs typeface="Arial" panose="020B0604020202020204" pitchFamily="34" charset="0"/>
              </a:rPr>
              <a:t>ourvoisier. </a:t>
            </a:r>
            <a:endParaRPr lang="en-US" sz="1800" b="1" dirty="0">
              <a:latin typeface="Arial" panose="020B0604020202020204" pitchFamily="34" charset="0"/>
              <a:cs typeface="Arial" panose="020B0604020202020204" pitchFamily="34" charset="0"/>
            </a:endParaRPr>
          </a:p>
          <a:p>
            <a:pPr>
              <a:lnSpc>
                <a:spcPct val="150000"/>
              </a:lnSpc>
            </a:pPr>
            <a:endParaRPr lang="vi-VN" dirty="0">
              <a:latin typeface="Arial" panose="020B0604020202020204" pitchFamily="34" charset="0"/>
              <a:cs typeface="Arial" panose="020B0604020202020204" pitchFamily="34" charset="0"/>
            </a:endParaRPr>
          </a:p>
          <a:p>
            <a:pPr>
              <a:lnSpc>
                <a:spcPct val="150000"/>
              </a:lnSpc>
            </a:pPr>
            <a:r>
              <a:rPr lang="en-US" dirty="0" err="1">
                <a:latin typeface="Arial" panose="020B0604020202020204" pitchFamily="34" charset="0"/>
                <a:cs typeface="Arial" panose="020B0604020202020204" pitchFamily="34" charset="0"/>
              </a:rPr>
              <a:t>Triệ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ứ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di </a:t>
            </a:r>
            <a:r>
              <a:rPr lang="en-US" dirty="0" err="1">
                <a:latin typeface="Arial" panose="020B0604020202020204" pitchFamily="34" charset="0"/>
                <a:cs typeface="Arial" panose="020B0604020202020204" pitchFamily="34" charset="0"/>
              </a:rPr>
              <a:t>căn</a:t>
            </a:r>
            <a:r>
              <a:rPr lang="en-US" dirty="0">
                <a:latin typeface="Arial" panose="020B0604020202020204" pitchFamily="34" charset="0"/>
                <a:cs typeface="Arial" panose="020B0604020202020204" pitchFamily="34" charset="0"/>
              </a:rPr>
              <a:t>: </a:t>
            </a:r>
          </a:p>
          <a:p>
            <a:pPr marL="285750" indent="-285750">
              <a:lnSpc>
                <a:spcPct val="150000"/>
              </a:lnSpc>
              <a:buFont typeface="Arial" panose="020B0604020202020204" pitchFamily="34" charset="0"/>
              <a:buChar char="•"/>
            </a:pPr>
            <a:r>
              <a:rPr lang="en-US" sz="1800" dirty="0" err="1">
                <a:latin typeface="Arial" panose="020B0604020202020204" pitchFamily="34" charset="0"/>
                <a:cs typeface="Arial" panose="020B0604020202020204" pitchFamily="34" charset="0"/>
              </a:rPr>
              <a:t>Sờ</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được</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nốt</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ở</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gan</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gan</a:t>
            </a:r>
            <a:r>
              <a:rPr lang="en-US" sz="1800" dirty="0">
                <a:latin typeface="Arial" panose="020B0604020202020204" pitchFamily="34" charset="0"/>
                <a:cs typeface="Arial" panose="020B0604020202020204" pitchFamily="34" charset="0"/>
              </a:rPr>
              <a:t> to</a:t>
            </a:r>
          </a:p>
          <a:p>
            <a:pPr marL="285750" indent="-285750">
              <a:lnSpc>
                <a:spcPct val="150000"/>
              </a:lnSpc>
              <a:buFont typeface="Arial" panose="020B0604020202020204" pitchFamily="34" charset="0"/>
              <a:buChar char="•"/>
            </a:pPr>
            <a:r>
              <a:rPr lang="en-US" sz="1800" dirty="0" err="1">
                <a:latin typeface="Arial" panose="020B0604020202020204" pitchFamily="34" charset="0"/>
                <a:cs typeface="Arial" panose="020B0604020202020204" pitchFamily="34" charset="0"/>
              </a:rPr>
              <a:t>Hạch</a:t>
            </a:r>
            <a:r>
              <a:rPr lang="en-US" sz="1800" dirty="0">
                <a:latin typeface="Arial" panose="020B0604020202020204" pitchFamily="34" charset="0"/>
                <a:cs typeface="Arial" panose="020B0604020202020204" pitchFamily="34" charset="0"/>
              </a:rPr>
              <a:t>: Virchow, </a:t>
            </a:r>
            <a:r>
              <a:rPr lang="en-US" sz="1800" dirty="0" err="1">
                <a:latin typeface="Arial" panose="020B0604020202020204" pitchFamily="34" charset="0"/>
                <a:cs typeface="Arial" panose="020B0604020202020204" pitchFamily="34" charset="0"/>
              </a:rPr>
              <a:t>nốt</a:t>
            </a:r>
            <a:r>
              <a:rPr lang="en-US" sz="1800" dirty="0">
                <a:latin typeface="Arial" panose="020B0604020202020204" pitchFamily="34" charset="0"/>
                <a:cs typeface="Arial" panose="020B0604020202020204" pitchFamily="34" charset="0"/>
              </a:rPr>
              <a:t> di </a:t>
            </a:r>
            <a:r>
              <a:rPr lang="en-US" sz="1800" dirty="0" err="1">
                <a:latin typeface="Arial" panose="020B0604020202020204" pitchFamily="34" charset="0"/>
                <a:cs typeface="Arial" panose="020B0604020202020204" pitchFamily="34" charset="0"/>
              </a:rPr>
              <a:t>căn</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ở</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rốn</a:t>
            </a:r>
            <a:r>
              <a:rPr lang="en-US" sz="1800" dirty="0">
                <a:latin typeface="Arial" panose="020B0604020202020204" pitchFamily="34" charset="0"/>
                <a:cs typeface="Arial" panose="020B0604020202020204" pitchFamily="34" charset="0"/>
              </a:rPr>
              <a:t> Sister Mary Joseph, </a:t>
            </a:r>
            <a:r>
              <a:rPr lang="en-US" sz="1800" dirty="0" err="1">
                <a:latin typeface="Arial" panose="020B0604020202020204" pitchFamily="34" charset="0"/>
                <a:cs typeface="Arial" panose="020B0604020202020204" pitchFamily="34" charset="0"/>
              </a:rPr>
              <a:t>Blummer’s</a:t>
            </a:r>
            <a:r>
              <a:rPr lang="en-US" sz="1800" dirty="0">
                <a:latin typeface="Arial" panose="020B0604020202020204" pitchFamily="34" charset="0"/>
                <a:cs typeface="Arial" panose="020B0604020202020204" pitchFamily="34" charset="0"/>
              </a:rPr>
              <a:t> Shelf</a:t>
            </a:r>
          </a:p>
        </p:txBody>
      </p:sp>
      <p:sp>
        <p:nvSpPr>
          <p:cNvPr id="15" name="TextBox 116">
            <a:extLst>
              <a:ext uri="{FF2B5EF4-FFF2-40B4-BE49-F238E27FC236}">
                <a16:creationId xmlns:a16="http://schemas.microsoft.com/office/drawing/2014/main" id="{08E00CE3-7AF9-A0C5-1DD7-76EDDF15A956}"/>
              </a:ext>
            </a:extLst>
          </p:cNvPr>
          <p:cNvSpPr txBox="1"/>
          <p:nvPr/>
        </p:nvSpPr>
        <p:spPr>
          <a:xfrm>
            <a:off x="3301700" y="5138593"/>
            <a:ext cx="278677" cy="278677"/>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latin typeface="Arial" panose="020B0604020202020204" pitchFamily="34" charset="0"/>
              <a:cs typeface="Arial" panose="020B0604020202020204" pitchFamily="34" charset="0"/>
              <a:sym typeface="Calibri" panose="020F0502020204030204" pitchFamily="34" charset="0"/>
            </a:endParaRPr>
          </a:p>
        </p:txBody>
      </p:sp>
    </p:spTree>
    <p:extLst>
      <p:ext uri="{BB962C8B-B14F-4D97-AF65-F5344CB8AC3E}">
        <p14:creationId xmlns:p14="http://schemas.microsoft.com/office/powerpoint/2010/main" val="7227797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A2DCA1-6A7D-46A7-A89B-769FC3023D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E5A2DCA1-6A7D-46A7-A89B-769FC3023D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Box 31">
            <a:extLst>
              <a:ext uri="{FF2B5EF4-FFF2-40B4-BE49-F238E27FC236}">
                <a16:creationId xmlns:a16="http://schemas.microsoft.com/office/drawing/2014/main" id="{2D549802-FEF1-46C0-B711-B5DA0426126D}"/>
              </a:ext>
            </a:extLst>
          </p:cNvPr>
          <p:cNvSpPr txBox="1"/>
          <p:nvPr/>
        </p:nvSpPr>
        <p:spPr>
          <a:xfrm rot="10800000" flipH="1" flipV="1">
            <a:off x="-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29" name="Freeform: Shape 28">
            <a:extLst>
              <a:ext uri="{FF2B5EF4-FFF2-40B4-BE49-F238E27FC236}">
                <a16:creationId xmlns:a16="http://schemas.microsoft.com/office/drawing/2014/main" id="{893A806F-E82D-487D-9D2B-84B38184CC82}"/>
              </a:ext>
            </a:extLst>
          </p:cNvPr>
          <p:cNvSpPr/>
          <p:nvPr/>
        </p:nvSpPr>
        <p:spPr>
          <a:xfrm>
            <a:off x="9157062" y="490330"/>
            <a:ext cx="4671283" cy="6513443"/>
          </a:xfrm>
          <a:custGeom>
            <a:avLst/>
            <a:gdLst>
              <a:gd name="connsiteX0" fmla="*/ 6050384 w 8632154"/>
              <a:gd name="connsiteY0" fmla="*/ 0 h 6858000"/>
              <a:gd name="connsiteX1" fmla="*/ 8632154 w 8632154"/>
              <a:gd name="connsiteY1" fmla="*/ 0 h 6858000"/>
              <a:gd name="connsiteX2" fmla="*/ 8632154 w 8632154"/>
              <a:gd name="connsiteY2" fmla="*/ 6858000 h 6858000"/>
              <a:gd name="connsiteX3" fmla="*/ 0 w 8632154"/>
              <a:gd name="connsiteY3" fmla="*/ 6858000 h 6858000"/>
              <a:gd name="connsiteX4" fmla="*/ 17136 w 8632154"/>
              <a:gd name="connsiteY4" fmla="*/ 6850412 h 6858000"/>
              <a:gd name="connsiteX5" fmla="*/ 1326096 w 8632154"/>
              <a:gd name="connsiteY5" fmla="*/ 5732390 h 6858000"/>
              <a:gd name="connsiteX6" fmla="*/ 2315345 w 8632154"/>
              <a:gd name="connsiteY6" fmla="*/ 3259269 h 6858000"/>
              <a:gd name="connsiteX7" fmla="*/ 4672086 w 8632154"/>
              <a:gd name="connsiteY7" fmla="*/ 2008159 h 6858000"/>
              <a:gd name="connsiteX8" fmla="*/ 5848499 w 8632154"/>
              <a:gd name="connsiteY8" fmla="*/ 9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2154" h="6858000">
                <a:moveTo>
                  <a:pt x="6050384" y="0"/>
                </a:moveTo>
                <a:lnTo>
                  <a:pt x="8632154" y="0"/>
                </a:lnTo>
                <a:lnTo>
                  <a:pt x="8632154" y="6858000"/>
                </a:lnTo>
                <a:lnTo>
                  <a:pt x="0" y="6858000"/>
                </a:lnTo>
                <a:lnTo>
                  <a:pt x="17136" y="6850412"/>
                </a:lnTo>
                <a:cubicBezTo>
                  <a:pt x="500509" y="6620261"/>
                  <a:pt x="978767" y="6201556"/>
                  <a:pt x="1326096" y="5732390"/>
                </a:cubicBezTo>
                <a:cubicBezTo>
                  <a:pt x="1789202" y="5106837"/>
                  <a:pt x="1757679" y="3879973"/>
                  <a:pt x="2315345" y="3259269"/>
                </a:cubicBezTo>
                <a:cubicBezTo>
                  <a:pt x="2873010" y="2638564"/>
                  <a:pt x="4167763" y="2560976"/>
                  <a:pt x="4672086" y="2008159"/>
                </a:cubicBezTo>
                <a:cubicBezTo>
                  <a:pt x="5085790" y="1554678"/>
                  <a:pt x="4955167" y="563510"/>
                  <a:pt x="5848499" y="904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Calibri" panose="020F0502020204030204" pitchFamily="34" charset="0"/>
            </a:endParaRPr>
          </a:p>
        </p:txBody>
      </p:sp>
      <p:grpSp>
        <p:nvGrpSpPr>
          <p:cNvPr id="2" name="Nhóm 1">
            <a:extLst>
              <a:ext uri="{FF2B5EF4-FFF2-40B4-BE49-F238E27FC236}">
                <a16:creationId xmlns:a16="http://schemas.microsoft.com/office/drawing/2014/main" id="{A252C47A-FB17-63C4-DEEF-12B4F60D0B11}"/>
              </a:ext>
            </a:extLst>
          </p:cNvPr>
          <p:cNvGrpSpPr/>
          <p:nvPr/>
        </p:nvGrpSpPr>
        <p:grpSpPr>
          <a:xfrm>
            <a:off x="701743" y="492663"/>
            <a:ext cx="3334246" cy="793188"/>
            <a:chOff x="701743" y="492663"/>
            <a:chExt cx="3334246" cy="793188"/>
          </a:xfrm>
        </p:grpSpPr>
        <p:sp>
          <p:nvSpPr>
            <p:cNvPr id="3" name="TextBox 10">
              <a:extLst>
                <a:ext uri="{FF2B5EF4-FFF2-40B4-BE49-F238E27FC236}">
                  <a16:creationId xmlns:a16="http://schemas.microsoft.com/office/drawing/2014/main" id="{97893D96-EBB8-6922-733A-6B22C189EFD9}"/>
                </a:ext>
              </a:extLst>
            </p:cNvPr>
            <p:cNvSpPr txBox="1">
              <a:spLocks/>
            </p:cNvSpPr>
            <p:nvPr/>
          </p:nvSpPr>
          <p:spPr>
            <a:xfrm>
              <a:off x="701743" y="731853"/>
              <a:ext cx="3334246" cy="553998"/>
            </a:xfrm>
            <a:prstGeom prst="rect">
              <a:avLst/>
            </a:prstGeom>
            <a:noFill/>
          </p:spPr>
          <p:txBody>
            <a:bodyPr wrap="none" lIns="0" tIns="0" rIns="0" bIns="0" rtlCol="0" anchor="ctr">
              <a:spAutoFit/>
            </a:bodyPr>
            <a:lstStyle>
              <a:defPPr>
                <a:defRPr lang="en-US"/>
              </a:defPPr>
              <a:lvl1pPr>
                <a:defRPr sz="3200" b="1">
                  <a:latin typeface="Segoe UI Black" panose="020B0A02040204020203" pitchFamily="34" charset="0"/>
                  <a:ea typeface="Segoe UI Black" panose="020B0A02040204020203" pitchFamily="34" charset="0"/>
                  <a:cs typeface="Segoe UI" panose="020B0502040204020203" pitchFamily="34" charset="0"/>
                </a:defRPr>
              </a:lvl1pPr>
            </a:lstStyle>
            <a:p>
              <a:r>
                <a:rPr lang="en-US" sz="3600">
                  <a:solidFill>
                    <a:srgbClr val="0070C0"/>
                  </a:solidFill>
                  <a:latin typeface="Arial" panose="020B0604020202020204" pitchFamily="34" charset="0"/>
                  <a:cs typeface="Arial" panose="020B0604020202020204" pitchFamily="34" charset="0"/>
                </a:rPr>
                <a:t>II. CHẨN ĐOÁN</a:t>
              </a:r>
            </a:p>
          </p:txBody>
        </p:sp>
        <p:sp>
          <p:nvSpPr>
            <p:cNvPr id="4" name="TextBox 12">
              <a:extLst>
                <a:ext uri="{FF2B5EF4-FFF2-40B4-BE49-F238E27FC236}">
                  <a16:creationId xmlns:a16="http://schemas.microsoft.com/office/drawing/2014/main" id="{B2ECB9D7-9845-DF30-0167-9D75C886B487}"/>
                </a:ext>
              </a:extLst>
            </p:cNvPr>
            <p:cNvSpPr txBox="1">
              <a:spLocks/>
            </p:cNvSpPr>
            <p:nvPr/>
          </p:nvSpPr>
          <p:spPr>
            <a:xfrm>
              <a:off x="708027" y="492663"/>
              <a:ext cx="882648" cy="66082"/>
            </a:xfrm>
            <a:prstGeom prst="roundRect">
              <a:avLst>
                <a:gd name="adj" fmla="val 50000"/>
              </a:avLst>
            </a:pr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228600" lvl="1" indent="-228600" algn="ctr">
                <a:lnSpc>
                  <a:spcPct val="90000"/>
                </a:lnSpc>
                <a:spcBef>
                  <a:spcPts val="1000"/>
                </a:spcBef>
                <a:buSzPct val="100000"/>
                <a:buFont typeface="Arial" panose="020B0604020202020204" pitchFamily="34" charset="0"/>
                <a:buChar char="•"/>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US">
                <a:latin typeface="Arial" panose="020B0604020202020204" pitchFamily="34" charset="0"/>
                <a:cs typeface="Arial" panose="020B0604020202020204" pitchFamily="34" charset="0"/>
                <a:sym typeface="Calibri" panose="020F0502020204030204" pitchFamily="34" charset="0"/>
              </a:endParaRPr>
            </a:p>
          </p:txBody>
        </p:sp>
      </p:grpSp>
      <p:sp>
        <p:nvSpPr>
          <p:cNvPr id="5" name="Hộp Văn bản 4">
            <a:extLst>
              <a:ext uri="{FF2B5EF4-FFF2-40B4-BE49-F238E27FC236}">
                <a16:creationId xmlns:a16="http://schemas.microsoft.com/office/drawing/2014/main" id="{B07C2C8F-AB3C-66A3-B383-DC7E4A8E976D}"/>
              </a:ext>
            </a:extLst>
          </p:cNvPr>
          <p:cNvSpPr txBox="1"/>
          <p:nvPr/>
        </p:nvSpPr>
        <p:spPr>
          <a:xfrm>
            <a:off x="964581" y="1664493"/>
            <a:ext cx="3574136" cy="584775"/>
          </a:xfrm>
          <a:prstGeom prst="rect">
            <a:avLst/>
          </a:prstGeom>
          <a:noFill/>
        </p:spPr>
        <p:txBody>
          <a:bodyPr wrap="square" rtlCol="0">
            <a:spAutoFit/>
          </a:bodyPr>
          <a:lstStyle/>
          <a:p>
            <a:r>
              <a:rPr lang="vi-VN" sz="3200">
                <a:latin typeface="Arial" panose="020B0604020202020204" pitchFamily="34" charset="0"/>
                <a:cs typeface="Arial" panose="020B0604020202020204" pitchFamily="34" charset="0"/>
              </a:rPr>
              <a:t>Các cận lâm sàng</a:t>
            </a:r>
          </a:p>
        </p:txBody>
      </p:sp>
      <p:grpSp>
        <p:nvGrpSpPr>
          <p:cNvPr id="19" name="Nhóm 18">
            <a:extLst>
              <a:ext uri="{FF2B5EF4-FFF2-40B4-BE49-F238E27FC236}">
                <a16:creationId xmlns:a16="http://schemas.microsoft.com/office/drawing/2014/main" id="{6A6E6379-868C-2BBE-C5FA-1A7B481B2C63}"/>
              </a:ext>
            </a:extLst>
          </p:cNvPr>
          <p:cNvGrpSpPr/>
          <p:nvPr/>
        </p:nvGrpSpPr>
        <p:grpSpPr>
          <a:xfrm>
            <a:off x="5146962" y="1388102"/>
            <a:ext cx="5074252" cy="2462213"/>
            <a:chOff x="4885738" y="1404938"/>
            <a:chExt cx="5074252" cy="2462213"/>
          </a:xfrm>
        </p:grpSpPr>
        <p:grpSp>
          <p:nvGrpSpPr>
            <p:cNvPr id="7" name="Nhóm 6">
              <a:extLst>
                <a:ext uri="{FF2B5EF4-FFF2-40B4-BE49-F238E27FC236}">
                  <a16:creationId xmlns:a16="http://schemas.microsoft.com/office/drawing/2014/main" id="{94C20AB2-EEC5-10ED-8C80-C2D2822D22C6}"/>
                </a:ext>
              </a:extLst>
            </p:cNvPr>
            <p:cNvGrpSpPr/>
            <p:nvPr/>
          </p:nvGrpSpPr>
          <p:grpSpPr>
            <a:xfrm>
              <a:off x="4885738" y="1404938"/>
              <a:ext cx="5074252" cy="2462213"/>
              <a:chOff x="798182" y="4416446"/>
              <a:chExt cx="5074252" cy="2462213"/>
            </a:xfrm>
          </p:grpSpPr>
          <p:sp>
            <p:nvSpPr>
              <p:cNvPr id="38" name="TextBox 37">
                <a:extLst>
                  <a:ext uri="{FF2B5EF4-FFF2-40B4-BE49-F238E27FC236}">
                    <a16:creationId xmlns:a16="http://schemas.microsoft.com/office/drawing/2014/main" id="{01A9A2A5-D0EB-4F60-A8F2-C12DE743E8A8}"/>
                  </a:ext>
                </a:extLst>
              </p:cNvPr>
              <p:cNvSpPr txBox="1"/>
              <p:nvPr/>
            </p:nvSpPr>
            <p:spPr>
              <a:xfrm>
                <a:off x="798182" y="4447662"/>
                <a:ext cx="826299" cy="826299"/>
              </a:xfrm>
              <a:prstGeom prst="ellipse">
                <a:avLst/>
              </a:prstGeom>
              <a:noFill/>
              <a:ln w="19050">
                <a:solidFill>
                  <a:srgbClr val="FFC000"/>
                </a:solidFill>
              </a:ln>
              <a:effectLst>
                <a:outerShdw blurRad="2540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39" name="TextBox 38">
                <a:extLst>
                  <a:ext uri="{FF2B5EF4-FFF2-40B4-BE49-F238E27FC236}">
                    <a16:creationId xmlns:a16="http://schemas.microsoft.com/office/drawing/2014/main" id="{B309DB34-0EDD-4F3D-A2D1-DB0DF9A25982}"/>
                  </a:ext>
                </a:extLst>
              </p:cNvPr>
              <p:cNvSpPr txBox="1"/>
              <p:nvPr/>
            </p:nvSpPr>
            <p:spPr>
              <a:xfrm>
                <a:off x="926099" y="4573412"/>
                <a:ext cx="574800" cy="574800"/>
              </a:xfrm>
              <a:prstGeom prst="ellipse">
                <a:avLst/>
              </a:prstGeom>
              <a:gradFill>
                <a:gsLst>
                  <a:gs pos="10000">
                    <a:srgbClr val="51A7C2"/>
                  </a:gs>
                  <a:gs pos="100000">
                    <a:srgbClr val="B5F6DA"/>
                  </a:gs>
                </a:gsLst>
                <a:lin ang="2700000" scaled="0"/>
              </a:gradFill>
              <a:ln>
                <a:noFill/>
              </a:ln>
              <a:effectLst>
                <a:outerShdw blurRad="1905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41" name="Rectangle 40">
                <a:extLst>
                  <a:ext uri="{FF2B5EF4-FFF2-40B4-BE49-F238E27FC236}">
                    <a16:creationId xmlns:a16="http://schemas.microsoft.com/office/drawing/2014/main" id="{7AF3D00D-65D2-422F-9E7C-A39D55335265}"/>
                  </a:ext>
                </a:extLst>
              </p:cNvPr>
              <p:cNvSpPr/>
              <p:nvPr/>
            </p:nvSpPr>
            <p:spPr>
              <a:xfrm>
                <a:off x="1841811" y="4416446"/>
                <a:ext cx="4030623" cy="2462213"/>
              </a:xfrm>
              <a:prstGeom prst="rect">
                <a:avLst/>
              </a:prstGeom>
            </p:spPr>
            <p:txBody>
              <a:bodyPr wrap="square" lIns="0" tIns="0" rIns="0" bIns="0" anchor="t">
                <a:spAutoFit/>
              </a:bodyPr>
              <a:lstStyle/>
              <a:p>
                <a:r>
                  <a:rPr lang="vi-VN" sz="2000" b="0" i="0" u="sng">
                    <a:solidFill>
                      <a:srgbClr val="000000"/>
                    </a:solidFill>
                    <a:effectLst/>
                    <a:latin typeface="Arial" panose="020B0604020202020204" pitchFamily="34" charset="0"/>
                    <a:cs typeface="Arial" panose="020B0604020202020204" pitchFamily="34" charset="0"/>
                  </a:rPr>
                  <a:t>XN máu và sinh hóa:</a:t>
                </a:r>
              </a:p>
              <a:p>
                <a:r>
                  <a:rPr lang="vi-VN" sz="2000" b="0" i="0">
                    <a:solidFill>
                      <a:srgbClr val="000000"/>
                    </a:solidFill>
                    <a:effectLst/>
                    <a:latin typeface="Arial" panose="020B0604020202020204" pitchFamily="34" charset="0"/>
                    <a:cs typeface="Arial" panose="020B0604020202020204" pitchFamily="34" charset="0"/>
                  </a:rPr>
                  <a:t>- Billirubin TP/TT, ALP, AST, ALT</a:t>
                </a:r>
              </a:p>
              <a:p>
                <a:r>
                  <a:rPr lang="vi-VN" sz="2000" b="0" i="0">
                    <a:solidFill>
                      <a:srgbClr val="000000"/>
                    </a:solidFill>
                    <a:effectLst/>
                    <a:latin typeface="Arial" panose="020B0604020202020204" pitchFamily="34" charset="0"/>
                    <a:cs typeface="Arial" panose="020B0604020202020204" pitchFamily="34" charset="0"/>
                  </a:rPr>
                  <a:t>- Chức năng đông máu</a:t>
                </a:r>
              </a:p>
              <a:p>
                <a:r>
                  <a:rPr lang="vi-VN" sz="2000" b="0" i="0">
                    <a:solidFill>
                      <a:srgbClr val="000000"/>
                    </a:solidFill>
                    <a:effectLst/>
                    <a:latin typeface="Arial" panose="020B0604020202020204" pitchFamily="34" charset="0"/>
                    <a:cs typeface="Arial" panose="020B0604020202020204" pitchFamily="34" charset="0"/>
                  </a:rPr>
                  <a:t>- Đánh giá dinh dưỡng: albumin máu, ion đồ, công thức máu</a:t>
                </a:r>
              </a:p>
              <a:p>
                <a:r>
                  <a:rPr lang="vi-VN" sz="2000" b="0" i="0">
                    <a:solidFill>
                      <a:srgbClr val="000000"/>
                    </a:solidFill>
                    <a:effectLst/>
                    <a:latin typeface="Arial" panose="020B0604020202020204" pitchFamily="34" charset="0"/>
                    <a:cs typeface="Arial" panose="020B0604020202020204" pitchFamily="34" charset="0"/>
                  </a:rPr>
                  <a:t>- Viêm đường mật: Bạch cầu, CRP.</a:t>
                </a:r>
              </a:p>
              <a:p>
                <a:r>
                  <a:rPr lang="vi-VN" sz="2000" b="0" i="0">
                    <a:solidFill>
                      <a:srgbClr val="000000"/>
                    </a:solidFill>
                    <a:effectLst/>
                    <a:latin typeface="Arial" panose="020B0604020202020204" pitchFamily="34" charset="0"/>
                    <a:cs typeface="Arial" panose="020B0604020202020204" pitchFamily="34" charset="0"/>
                  </a:rPr>
                  <a:t>- Amylase, lipase máu (nếu có đau thượng vị). </a:t>
                </a:r>
              </a:p>
            </p:txBody>
          </p:sp>
        </p:grpSp>
        <p:pic>
          <p:nvPicPr>
            <p:cNvPr id="18" name="Đồ họa 17" descr="Water outline">
              <a:extLst>
                <a:ext uri="{FF2B5EF4-FFF2-40B4-BE49-F238E27FC236}">
                  <a16:creationId xmlns:a16="http://schemas.microsoft.com/office/drawing/2014/main" id="{EFBECABE-7F4C-A75C-CCC1-D94CD665C3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72939" y="1621188"/>
              <a:ext cx="456232" cy="456232"/>
            </a:xfrm>
            <a:prstGeom prst="rect">
              <a:avLst/>
            </a:prstGeom>
          </p:spPr>
        </p:pic>
      </p:grpSp>
      <p:grpSp>
        <p:nvGrpSpPr>
          <p:cNvPr id="43" name="Nhóm 42">
            <a:extLst>
              <a:ext uri="{FF2B5EF4-FFF2-40B4-BE49-F238E27FC236}">
                <a16:creationId xmlns:a16="http://schemas.microsoft.com/office/drawing/2014/main" id="{0A7FA395-D520-AA45-784E-B19619E8DAFB}"/>
              </a:ext>
            </a:extLst>
          </p:cNvPr>
          <p:cNvGrpSpPr/>
          <p:nvPr/>
        </p:nvGrpSpPr>
        <p:grpSpPr>
          <a:xfrm>
            <a:off x="516321" y="2931367"/>
            <a:ext cx="4241349" cy="3385542"/>
            <a:chOff x="516321" y="2931367"/>
            <a:chExt cx="4241349" cy="3385542"/>
          </a:xfrm>
        </p:grpSpPr>
        <p:grpSp>
          <p:nvGrpSpPr>
            <p:cNvPr id="14" name="Nhóm 13">
              <a:extLst>
                <a:ext uri="{FF2B5EF4-FFF2-40B4-BE49-F238E27FC236}">
                  <a16:creationId xmlns:a16="http://schemas.microsoft.com/office/drawing/2014/main" id="{CC465378-7AA3-0A1C-EC81-2E22B1B6D13F}"/>
                </a:ext>
              </a:extLst>
            </p:cNvPr>
            <p:cNvGrpSpPr/>
            <p:nvPr/>
          </p:nvGrpSpPr>
          <p:grpSpPr>
            <a:xfrm>
              <a:off x="516321" y="2931367"/>
              <a:ext cx="4241349" cy="3385542"/>
              <a:chOff x="756775" y="2561502"/>
              <a:chExt cx="4241349" cy="3385542"/>
            </a:xfrm>
          </p:grpSpPr>
          <p:sp>
            <p:nvSpPr>
              <p:cNvPr id="35" name="TextBox 34">
                <a:extLst>
                  <a:ext uri="{FF2B5EF4-FFF2-40B4-BE49-F238E27FC236}">
                    <a16:creationId xmlns:a16="http://schemas.microsoft.com/office/drawing/2014/main" id="{07E46DB2-8203-4EEB-9486-E9D877900276}"/>
                  </a:ext>
                </a:extLst>
              </p:cNvPr>
              <p:cNvSpPr txBox="1"/>
              <p:nvPr/>
            </p:nvSpPr>
            <p:spPr>
              <a:xfrm>
                <a:off x="756775" y="2579239"/>
                <a:ext cx="826299" cy="826299"/>
              </a:xfrm>
              <a:prstGeom prst="ellipse">
                <a:avLst/>
              </a:prstGeom>
              <a:noFill/>
              <a:ln w="19050">
                <a:solidFill>
                  <a:srgbClr val="FFC000"/>
                </a:solidFill>
              </a:ln>
              <a:effectLst>
                <a:outerShdw blurRad="2540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34" name="TextBox 33">
                <a:extLst>
                  <a:ext uri="{FF2B5EF4-FFF2-40B4-BE49-F238E27FC236}">
                    <a16:creationId xmlns:a16="http://schemas.microsoft.com/office/drawing/2014/main" id="{C34A67EC-5067-494A-B71E-4BA9C1CA98FF}"/>
                  </a:ext>
                </a:extLst>
              </p:cNvPr>
              <p:cNvSpPr txBox="1"/>
              <p:nvPr/>
            </p:nvSpPr>
            <p:spPr>
              <a:xfrm>
                <a:off x="882525" y="2704989"/>
                <a:ext cx="574800" cy="574800"/>
              </a:xfrm>
              <a:prstGeom prst="ellipse">
                <a:avLst/>
              </a:prstGeom>
              <a:gradFill>
                <a:gsLst>
                  <a:gs pos="10000">
                    <a:srgbClr val="51A7C2"/>
                  </a:gs>
                  <a:gs pos="100000">
                    <a:srgbClr val="B5F6DA"/>
                  </a:gs>
                </a:gsLst>
                <a:lin ang="2700000" scaled="0"/>
              </a:gradFill>
              <a:ln>
                <a:noFill/>
              </a:ln>
              <a:effectLst>
                <a:outerShdw blurRad="1905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40" name="Rectangle 39">
                <a:extLst>
                  <a:ext uri="{FF2B5EF4-FFF2-40B4-BE49-F238E27FC236}">
                    <a16:creationId xmlns:a16="http://schemas.microsoft.com/office/drawing/2014/main" id="{64247D62-5F19-4481-AE75-DCAA35A2CEE7}"/>
                  </a:ext>
                </a:extLst>
              </p:cNvPr>
              <p:cNvSpPr/>
              <p:nvPr/>
            </p:nvSpPr>
            <p:spPr>
              <a:xfrm>
                <a:off x="1841812" y="2561502"/>
                <a:ext cx="3156312" cy="3385542"/>
              </a:xfrm>
              <a:prstGeom prst="rect">
                <a:avLst/>
              </a:prstGeom>
            </p:spPr>
            <p:txBody>
              <a:bodyPr wrap="square" lIns="0" tIns="0" rIns="0" bIns="0" anchor="t">
                <a:spAutoFit/>
              </a:bodyPr>
              <a:lstStyle/>
              <a:p>
                <a:r>
                  <a:rPr lang="vi-VN" sz="2000" b="0" i="0" u="sng">
                    <a:solidFill>
                      <a:srgbClr val="000000"/>
                    </a:solidFill>
                    <a:effectLst/>
                    <a:latin typeface="Arial" panose="020B0604020202020204" pitchFamily="34" charset="0"/>
                    <a:cs typeface="Arial" panose="020B0604020202020204" pitchFamily="34" charset="0"/>
                  </a:rPr>
                  <a:t>Hình ảnh học:</a:t>
                </a:r>
              </a:p>
              <a:p>
                <a:r>
                  <a:rPr lang="vi-VN" sz="2000" b="0" i="0">
                    <a:solidFill>
                      <a:srgbClr val="000000"/>
                    </a:solidFill>
                    <a:effectLst/>
                    <a:latin typeface="Arial" panose="020B0604020202020204" pitchFamily="34" charset="0"/>
                    <a:cs typeface="Arial" panose="020B0604020202020204" pitchFamily="34" charset="0"/>
                  </a:rPr>
                  <a:t>Siêu âm bụng</a:t>
                </a:r>
              </a:p>
              <a:p>
                <a:r>
                  <a:rPr lang="vi-VN" sz="2000" b="0" i="0">
                    <a:solidFill>
                      <a:srgbClr val="000000"/>
                    </a:solidFill>
                    <a:effectLst/>
                    <a:latin typeface="Arial" panose="020B0604020202020204" pitchFamily="34" charset="0"/>
                    <a:cs typeface="Arial" panose="020B0604020202020204" pitchFamily="34" charset="0"/>
                  </a:rPr>
                  <a:t>CT bụng có cản quang</a:t>
                </a:r>
              </a:p>
              <a:p>
                <a:r>
                  <a:rPr lang="vi-VN" sz="2000" b="0" i="0">
                    <a:solidFill>
                      <a:srgbClr val="000000"/>
                    </a:solidFill>
                    <a:effectLst/>
                    <a:latin typeface="Arial" panose="020B0604020202020204" pitchFamily="34" charset="0"/>
                    <a:cs typeface="Arial" panose="020B0604020202020204" pitchFamily="34" charset="0"/>
                  </a:rPr>
                  <a:t>Chụp mật tụy ngược dòng qua nội soi (ERCP)</a:t>
                </a:r>
              </a:p>
              <a:p>
                <a:r>
                  <a:rPr lang="vi-VN" sz="2000" b="0" i="0">
                    <a:solidFill>
                      <a:srgbClr val="000000"/>
                    </a:solidFill>
                    <a:effectLst/>
                    <a:latin typeface="Arial" panose="020B0604020202020204" pitchFamily="34" charset="0"/>
                    <a:cs typeface="Arial" panose="020B0604020202020204" pitchFamily="34" charset="0"/>
                  </a:rPr>
                  <a:t>Chụp cộng hưởng từ mật tụy (MRCP)</a:t>
                </a:r>
              </a:p>
              <a:p>
                <a:r>
                  <a:rPr lang="vi-VN" sz="2000" b="0" i="0">
                    <a:solidFill>
                      <a:srgbClr val="000000"/>
                    </a:solidFill>
                    <a:effectLst/>
                    <a:latin typeface="Arial" panose="020B0604020202020204" pitchFamily="34" charset="0"/>
                    <a:cs typeface="Arial" panose="020B0604020202020204" pitchFamily="34" charset="0"/>
                  </a:rPr>
                  <a:t>Chụp đường mật xuyên gan qua da (PTC)</a:t>
                </a:r>
              </a:p>
              <a:p>
                <a:r>
                  <a:rPr lang="vi-VN" sz="2000" b="0" i="0">
                    <a:solidFill>
                      <a:srgbClr val="000000"/>
                    </a:solidFill>
                    <a:effectLst/>
                    <a:latin typeface="Arial" panose="020B0604020202020204" pitchFamily="34" charset="0"/>
                    <a:cs typeface="Arial" panose="020B0604020202020204" pitchFamily="34" charset="0"/>
                  </a:rPr>
                  <a:t>Siêu âm nội soi (EUS)</a:t>
                </a:r>
              </a:p>
              <a:p>
                <a:r>
                  <a:rPr lang="vi-VN" sz="2000" b="0" i="0">
                    <a:solidFill>
                      <a:srgbClr val="000000"/>
                    </a:solidFill>
                    <a:effectLst/>
                    <a:latin typeface="Arial" panose="020B0604020202020204" pitchFamily="34" charset="0"/>
                    <a:cs typeface="Arial" panose="020B0604020202020204" pitchFamily="34" charset="0"/>
                  </a:rPr>
                  <a:t>PET/CT</a:t>
                </a:r>
              </a:p>
            </p:txBody>
          </p:sp>
        </p:grpSp>
        <p:pic>
          <p:nvPicPr>
            <p:cNvPr id="42" name="Đồ họa 41" descr="Lights On outline">
              <a:extLst>
                <a:ext uri="{FF2B5EF4-FFF2-40B4-BE49-F238E27FC236}">
                  <a16:creationId xmlns:a16="http://schemas.microsoft.com/office/drawing/2014/main" id="{28E354C3-ABA8-132D-7F72-2B2BB9F372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0870" y="3133653"/>
              <a:ext cx="457200" cy="457200"/>
            </a:xfrm>
            <a:prstGeom prst="rect">
              <a:avLst/>
            </a:prstGeom>
          </p:spPr>
        </p:pic>
      </p:grpSp>
      <p:grpSp>
        <p:nvGrpSpPr>
          <p:cNvPr id="46" name="Nhóm 45">
            <a:extLst>
              <a:ext uri="{FF2B5EF4-FFF2-40B4-BE49-F238E27FC236}">
                <a16:creationId xmlns:a16="http://schemas.microsoft.com/office/drawing/2014/main" id="{AECA549B-1B87-E95C-0EB0-26B6B4639296}"/>
              </a:ext>
            </a:extLst>
          </p:cNvPr>
          <p:cNvGrpSpPr/>
          <p:nvPr/>
        </p:nvGrpSpPr>
        <p:grpSpPr>
          <a:xfrm>
            <a:off x="5590413" y="4597866"/>
            <a:ext cx="5000229" cy="829178"/>
            <a:chOff x="5590413" y="4597866"/>
            <a:chExt cx="5000229" cy="829178"/>
          </a:xfrm>
        </p:grpSpPr>
        <p:grpSp>
          <p:nvGrpSpPr>
            <p:cNvPr id="22" name="Nhóm 21">
              <a:extLst>
                <a:ext uri="{FF2B5EF4-FFF2-40B4-BE49-F238E27FC236}">
                  <a16:creationId xmlns:a16="http://schemas.microsoft.com/office/drawing/2014/main" id="{E43B90B1-21F6-376E-330A-48EED0806766}"/>
                </a:ext>
              </a:extLst>
            </p:cNvPr>
            <p:cNvGrpSpPr/>
            <p:nvPr/>
          </p:nvGrpSpPr>
          <p:grpSpPr>
            <a:xfrm>
              <a:off x="5590413" y="4597866"/>
              <a:ext cx="5000229" cy="829178"/>
              <a:chOff x="798182" y="4447662"/>
              <a:chExt cx="5000229" cy="829178"/>
            </a:xfrm>
          </p:grpSpPr>
          <p:sp>
            <p:nvSpPr>
              <p:cNvPr id="24" name="TextBox 37">
                <a:extLst>
                  <a:ext uri="{FF2B5EF4-FFF2-40B4-BE49-F238E27FC236}">
                    <a16:creationId xmlns:a16="http://schemas.microsoft.com/office/drawing/2014/main" id="{3AA73513-9C3D-117D-F35E-93A7376598A7}"/>
                  </a:ext>
                </a:extLst>
              </p:cNvPr>
              <p:cNvSpPr txBox="1"/>
              <p:nvPr/>
            </p:nvSpPr>
            <p:spPr>
              <a:xfrm>
                <a:off x="798182" y="4447662"/>
                <a:ext cx="826299" cy="826299"/>
              </a:xfrm>
              <a:prstGeom prst="ellipse">
                <a:avLst/>
              </a:prstGeom>
              <a:noFill/>
              <a:ln w="19050">
                <a:solidFill>
                  <a:srgbClr val="FFC000"/>
                </a:solidFill>
              </a:ln>
              <a:effectLst>
                <a:outerShdw blurRad="2540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25" name="TextBox 38">
                <a:extLst>
                  <a:ext uri="{FF2B5EF4-FFF2-40B4-BE49-F238E27FC236}">
                    <a16:creationId xmlns:a16="http://schemas.microsoft.com/office/drawing/2014/main" id="{768C05FE-6974-5F12-D0B9-6C5467EB8C39}"/>
                  </a:ext>
                </a:extLst>
              </p:cNvPr>
              <p:cNvSpPr txBox="1"/>
              <p:nvPr/>
            </p:nvSpPr>
            <p:spPr>
              <a:xfrm>
                <a:off x="926099" y="4573412"/>
                <a:ext cx="574800" cy="574800"/>
              </a:xfrm>
              <a:prstGeom prst="ellipse">
                <a:avLst/>
              </a:prstGeom>
              <a:gradFill>
                <a:gsLst>
                  <a:gs pos="10000">
                    <a:srgbClr val="51A7C2"/>
                  </a:gs>
                  <a:gs pos="100000">
                    <a:srgbClr val="B5F6DA"/>
                  </a:gs>
                </a:gsLst>
                <a:lin ang="2700000" scaled="0"/>
              </a:gradFill>
              <a:ln>
                <a:noFill/>
              </a:ln>
              <a:effectLst>
                <a:outerShdw blurRad="1905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latin typeface="Arial" panose="020B0604020202020204" pitchFamily="34" charset="0"/>
                  <a:cs typeface="Arial" panose="020B0604020202020204" pitchFamily="34" charset="0"/>
                  <a:sym typeface="Calibri" panose="020F0502020204030204" pitchFamily="34" charset="0"/>
                </a:endParaRPr>
              </a:p>
            </p:txBody>
          </p:sp>
          <p:sp>
            <p:nvSpPr>
              <p:cNvPr id="26" name="Rectangle 40">
                <a:extLst>
                  <a:ext uri="{FF2B5EF4-FFF2-40B4-BE49-F238E27FC236}">
                    <a16:creationId xmlns:a16="http://schemas.microsoft.com/office/drawing/2014/main" id="{E9214955-7FDA-6502-D9B4-D09B0ED7D0A1}"/>
                  </a:ext>
                </a:extLst>
              </p:cNvPr>
              <p:cNvSpPr/>
              <p:nvPr/>
            </p:nvSpPr>
            <p:spPr>
              <a:xfrm>
                <a:off x="1767788" y="4661287"/>
                <a:ext cx="4030623" cy="615553"/>
              </a:xfrm>
              <a:prstGeom prst="rect">
                <a:avLst/>
              </a:prstGeom>
            </p:spPr>
            <p:txBody>
              <a:bodyPr wrap="square" lIns="0" tIns="0" rIns="0" bIns="0" anchor="t">
                <a:spAutoFit/>
              </a:bodyPr>
              <a:lstStyle/>
              <a:p>
                <a:r>
                  <a:rPr lang="vi-VN" sz="2000" b="0" i="0">
                    <a:solidFill>
                      <a:srgbClr val="000000"/>
                    </a:solidFill>
                    <a:effectLst/>
                    <a:latin typeface="Arial" panose="020B0604020202020204" pitchFamily="34" charset="0"/>
                    <a:cs typeface="Arial" panose="020B0604020202020204" pitchFamily="34" charset="0"/>
                  </a:rPr>
                  <a:t> </a:t>
                </a:r>
                <a:r>
                  <a:rPr lang="nb-NO" sz="2000" b="0" i="0" u="sng">
                    <a:solidFill>
                      <a:srgbClr val="000000"/>
                    </a:solidFill>
                    <a:effectLst/>
                    <a:latin typeface="Arial" panose="020B0604020202020204" pitchFamily="34" charset="0"/>
                    <a:cs typeface="Arial" panose="020B0604020202020204" pitchFamily="34" charset="0"/>
                  </a:rPr>
                  <a:t>Marker ung thư</a:t>
                </a:r>
                <a:r>
                  <a:rPr lang="nb-NO" sz="2000" b="0" i="0">
                    <a:solidFill>
                      <a:srgbClr val="000000"/>
                    </a:solidFill>
                    <a:effectLst/>
                    <a:latin typeface="Arial" panose="020B0604020202020204" pitchFamily="34" charset="0"/>
                    <a:cs typeface="Arial" panose="020B0604020202020204" pitchFamily="34" charset="0"/>
                  </a:rPr>
                  <a:t>: CA19-9, CEA</a:t>
                </a:r>
              </a:p>
              <a:p>
                <a:endParaRPr lang="vi-VN" sz="2000" b="0" i="0">
                  <a:solidFill>
                    <a:srgbClr val="000000"/>
                  </a:solidFill>
                  <a:effectLst/>
                  <a:latin typeface="Arial" panose="020B0604020202020204" pitchFamily="34" charset="0"/>
                  <a:cs typeface="Arial" panose="020B0604020202020204" pitchFamily="34" charset="0"/>
                </a:endParaRPr>
              </a:p>
            </p:txBody>
          </p:sp>
        </p:grpSp>
        <p:pic>
          <p:nvPicPr>
            <p:cNvPr id="45" name="Đồ họa 44" descr="Bubbles outline">
              <a:extLst>
                <a:ext uri="{FF2B5EF4-FFF2-40B4-BE49-F238E27FC236}">
                  <a16:creationId xmlns:a16="http://schemas.microsoft.com/office/drawing/2014/main" id="{A5D9053A-429D-97F3-E2EE-118E3582A7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52575" y="4775452"/>
              <a:ext cx="501974" cy="501974"/>
            </a:xfrm>
            <a:prstGeom prst="rect">
              <a:avLst/>
            </a:prstGeom>
          </p:spPr>
        </p:pic>
      </p:grpSp>
    </p:spTree>
    <p:extLst>
      <p:ext uri="{BB962C8B-B14F-4D97-AF65-F5344CB8AC3E}">
        <p14:creationId xmlns:p14="http://schemas.microsoft.com/office/powerpoint/2010/main" val="2781693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A2DCA1-6A7D-46A7-A89B-769FC3023D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E5A2DCA1-6A7D-46A7-A89B-769FC3023D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Box 31">
            <a:extLst>
              <a:ext uri="{FF2B5EF4-FFF2-40B4-BE49-F238E27FC236}">
                <a16:creationId xmlns:a16="http://schemas.microsoft.com/office/drawing/2014/main" id="{2D549802-FEF1-46C0-B711-B5DA0426126D}"/>
              </a:ext>
            </a:extLst>
          </p:cNvPr>
          <p:cNvSpPr txBox="1"/>
          <p:nvPr/>
        </p:nvSpPr>
        <p:spPr>
          <a:xfrm rot="10800000" flipH="1" flipV="1">
            <a:off x="-1" y="0"/>
            <a:ext cx="3841959" cy="2809875"/>
          </a:xfrm>
          <a:custGeom>
            <a:avLst/>
            <a:gdLst>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66838"/>
              <a:gd name="connsiteX1" fmla="*/ 6674304 w 6674304"/>
              <a:gd name="connsiteY1" fmla="*/ 0 h 5966838"/>
              <a:gd name="connsiteX2" fmla="*/ 6672463 w 6674304"/>
              <a:gd name="connsiteY2" fmla="*/ 3528 h 5966838"/>
              <a:gd name="connsiteX3" fmla="*/ 6142663 w 6674304"/>
              <a:gd name="connsiteY3" fmla="*/ 1686835 h 5966838"/>
              <a:gd name="connsiteX4" fmla="*/ 4132917 w 6674304"/>
              <a:gd name="connsiteY4" fmla="*/ 2753737 h 5966838"/>
              <a:gd name="connsiteX5" fmla="*/ 3289320 w 6674304"/>
              <a:gd name="connsiteY5" fmla="*/ 4862728 h 5966838"/>
              <a:gd name="connsiteX6" fmla="*/ 1763402 w 6674304"/>
              <a:gd name="connsiteY6" fmla="*/ 5954443 h 5966838"/>
              <a:gd name="connsiteX7" fmla="*/ 63803 w 6674304"/>
              <a:gd name="connsiteY7" fmla="*/ 5470616 h 5966838"/>
              <a:gd name="connsiteX8" fmla="*/ 0 w 6674304"/>
              <a:gd name="connsiteY8" fmla="*/ 5467195 h 5966838"/>
              <a:gd name="connsiteX9" fmla="*/ 0 w 6674304"/>
              <a:gd name="connsiteY9" fmla="*/ 0 h 5966838"/>
              <a:gd name="connsiteX0" fmla="*/ 0 w 6674304"/>
              <a:gd name="connsiteY0" fmla="*/ 0 h 5954452"/>
              <a:gd name="connsiteX1" fmla="*/ 6674304 w 6674304"/>
              <a:gd name="connsiteY1" fmla="*/ 0 h 5954452"/>
              <a:gd name="connsiteX2" fmla="*/ 6672463 w 6674304"/>
              <a:gd name="connsiteY2" fmla="*/ 3528 h 5954452"/>
              <a:gd name="connsiteX3" fmla="*/ 6142663 w 6674304"/>
              <a:gd name="connsiteY3" fmla="*/ 1686835 h 5954452"/>
              <a:gd name="connsiteX4" fmla="*/ 4132917 w 6674304"/>
              <a:gd name="connsiteY4" fmla="*/ 2753737 h 5954452"/>
              <a:gd name="connsiteX5" fmla="*/ 3289320 w 6674304"/>
              <a:gd name="connsiteY5" fmla="*/ 4862728 h 5954452"/>
              <a:gd name="connsiteX6" fmla="*/ 1763402 w 6674304"/>
              <a:gd name="connsiteY6" fmla="*/ 5954443 h 5954452"/>
              <a:gd name="connsiteX7" fmla="*/ 63803 w 6674304"/>
              <a:gd name="connsiteY7" fmla="*/ 5470616 h 5954452"/>
              <a:gd name="connsiteX8" fmla="*/ 0 w 6674304"/>
              <a:gd name="connsiteY8" fmla="*/ 5467195 h 5954452"/>
              <a:gd name="connsiteX9" fmla="*/ 0 w 6674304"/>
              <a:gd name="connsiteY9" fmla="*/ 0 h 5954452"/>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289320 w 6674304"/>
              <a:gd name="connsiteY5" fmla="*/ 486272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4443"/>
              <a:gd name="connsiteX1" fmla="*/ 6674304 w 6674304"/>
              <a:gd name="connsiteY1" fmla="*/ 0 h 5954443"/>
              <a:gd name="connsiteX2" fmla="*/ 6672463 w 6674304"/>
              <a:gd name="connsiteY2" fmla="*/ 3528 h 5954443"/>
              <a:gd name="connsiteX3" fmla="*/ 6142663 w 6674304"/>
              <a:gd name="connsiteY3" fmla="*/ 1686835 h 5954443"/>
              <a:gd name="connsiteX4" fmla="*/ 4132917 w 6674304"/>
              <a:gd name="connsiteY4" fmla="*/ 2753737 h 5954443"/>
              <a:gd name="connsiteX5" fmla="*/ 3323857 w 6674304"/>
              <a:gd name="connsiteY5" fmla="*/ 4880718 h 5954443"/>
              <a:gd name="connsiteX6" fmla="*/ 1763402 w 6674304"/>
              <a:gd name="connsiteY6" fmla="*/ 5954443 h 5954443"/>
              <a:gd name="connsiteX7" fmla="*/ 63803 w 6674304"/>
              <a:gd name="connsiteY7" fmla="*/ 5470616 h 5954443"/>
              <a:gd name="connsiteX8" fmla="*/ 0 w 6674304"/>
              <a:gd name="connsiteY8" fmla="*/ 5467195 h 5954443"/>
              <a:gd name="connsiteX9" fmla="*/ 0 w 6674304"/>
              <a:gd name="connsiteY9" fmla="*/ 0 h 5954443"/>
              <a:gd name="connsiteX0" fmla="*/ 0 w 6674304"/>
              <a:gd name="connsiteY0" fmla="*/ 0 h 5957613"/>
              <a:gd name="connsiteX1" fmla="*/ 6674304 w 6674304"/>
              <a:gd name="connsiteY1" fmla="*/ 0 h 5957613"/>
              <a:gd name="connsiteX2" fmla="*/ 6672463 w 6674304"/>
              <a:gd name="connsiteY2" fmla="*/ 3528 h 5957613"/>
              <a:gd name="connsiteX3" fmla="*/ 6142663 w 6674304"/>
              <a:gd name="connsiteY3" fmla="*/ 1686835 h 5957613"/>
              <a:gd name="connsiteX4" fmla="*/ 4132917 w 6674304"/>
              <a:gd name="connsiteY4" fmla="*/ 2753737 h 5957613"/>
              <a:gd name="connsiteX5" fmla="*/ 3323857 w 6674304"/>
              <a:gd name="connsiteY5" fmla="*/ 4880718 h 5957613"/>
              <a:gd name="connsiteX6" fmla="*/ 1763402 w 6674304"/>
              <a:gd name="connsiteY6" fmla="*/ 5954443 h 5957613"/>
              <a:gd name="connsiteX7" fmla="*/ 63803 w 6674304"/>
              <a:gd name="connsiteY7" fmla="*/ 5470616 h 5957613"/>
              <a:gd name="connsiteX8" fmla="*/ 0 w 6674304"/>
              <a:gd name="connsiteY8" fmla="*/ 5467195 h 5957613"/>
              <a:gd name="connsiteX9" fmla="*/ 0 w 6674304"/>
              <a:gd name="connsiteY9" fmla="*/ 0 h 595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304" h="5957613">
                <a:moveTo>
                  <a:pt x="0" y="0"/>
                </a:moveTo>
                <a:lnTo>
                  <a:pt x="6674304" y="0"/>
                </a:lnTo>
                <a:lnTo>
                  <a:pt x="6672463" y="3528"/>
                </a:lnTo>
                <a:cubicBezTo>
                  <a:pt x="6485641" y="423111"/>
                  <a:pt x="6718539" y="1011007"/>
                  <a:pt x="6142663" y="1686835"/>
                </a:cubicBezTo>
                <a:cubicBezTo>
                  <a:pt x="5728792" y="2172540"/>
                  <a:pt x="4602718" y="2221423"/>
                  <a:pt x="4132917" y="2753737"/>
                </a:cubicBezTo>
                <a:cubicBezTo>
                  <a:pt x="3663116" y="3286051"/>
                  <a:pt x="3658337" y="4266313"/>
                  <a:pt x="3323857" y="4880718"/>
                </a:cubicBezTo>
                <a:cubicBezTo>
                  <a:pt x="2989377" y="5495123"/>
                  <a:pt x="2577285" y="5862125"/>
                  <a:pt x="1763402" y="5954443"/>
                </a:cubicBezTo>
                <a:cubicBezTo>
                  <a:pt x="1230133" y="6001788"/>
                  <a:pt x="551766" y="5503698"/>
                  <a:pt x="63803" y="5470616"/>
                </a:cubicBezTo>
                <a:lnTo>
                  <a:pt x="0" y="5467195"/>
                </a:lnTo>
                <a:lnTo>
                  <a:pt x="0" y="0"/>
                </a:lnTo>
                <a:close/>
              </a:path>
            </a:pathLst>
          </a:custGeom>
          <a:gradFill>
            <a:gsLst>
              <a:gs pos="10000">
                <a:schemeClr val="bg1">
                  <a:lumMod val="85000"/>
                  <a:alpha val="10000"/>
                </a:schemeClr>
              </a:gs>
              <a:gs pos="100000">
                <a:schemeClr val="bg1">
                  <a:lumMod val="95000"/>
                  <a:alpha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Calibri" panose="020F0502020204030204" pitchFamily="34" charset="0"/>
              </a:defRPr>
            </a:lvl1pPr>
            <a:lvl2pPr marL="0" lvl="1" indent="0" algn="ctr">
              <a:lnSpc>
                <a:spcPct val="90000"/>
              </a:lnSpc>
              <a:spcBef>
                <a:spcPts val="1000"/>
              </a:spcBef>
              <a:buSzPct val="100000"/>
              <a:buFont typeface="Arial" panose="020B0604020202020204" pitchFamily="34" charset="0"/>
              <a:buNone/>
              <a:defRPr>
                <a:latin typeface="Calibri" panose="020F0502020204030204" pitchFamily="34" charset="0"/>
              </a:defRPr>
            </a:lvl2pPr>
            <a:lvl3pPr marL="685800" lvl="2"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3pPr>
            <a:lvl4pPr marL="1143000" lvl="3"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4pPr>
            <a:lvl5pPr marL="1600200" lvl="4" indent="-228600" algn="ctr">
              <a:lnSpc>
                <a:spcPct val="90000"/>
              </a:lnSpc>
              <a:spcBef>
                <a:spcPts val="5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Calibri" panose="020F0502020204030204" pitchFamily="34" charset="0"/>
            </a:endParaRPr>
          </a:p>
        </p:txBody>
      </p:sp>
      <p:sp>
        <p:nvSpPr>
          <p:cNvPr id="29" name="Freeform: Shape 28">
            <a:extLst>
              <a:ext uri="{FF2B5EF4-FFF2-40B4-BE49-F238E27FC236}">
                <a16:creationId xmlns:a16="http://schemas.microsoft.com/office/drawing/2014/main" id="{893A806F-E82D-487D-9D2B-84B38184CC82}"/>
              </a:ext>
            </a:extLst>
          </p:cNvPr>
          <p:cNvSpPr/>
          <p:nvPr/>
        </p:nvSpPr>
        <p:spPr>
          <a:xfrm>
            <a:off x="7958843" y="-156753"/>
            <a:ext cx="4671283" cy="7014754"/>
          </a:xfrm>
          <a:custGeom>
            <a:avLst/>
            <a:gdLst>
              <a:gd name="connsiteX0" fmla="*/ 6050384 w 8632154"/>
              <a:gd name="connsiteY0" fmla="*/ 0 h 6858000"/>
              <a:gd name="connsiteX1" fmla="*/ 8632154 w 8632154"/>
              <a:gd name="connsiteY1" fmla="*/ 0 h 6858000"/>
              <a:gd name="connsiteX2" fmla="*/ 8632154 w 8632154"/>
              <a:gd name="connsiteY2" fmla="*/ 6858000 h 6858000"/>
              <a:gd name="connsiteX3" fmla="*/ 0 w 8632154"/>
              <a:gd name="connsiteY3" fmla="*/ 6858000 h 6858000"/>
              <a:gd name="connsiteX4" fmla="*/ 17136 w 8632154"/>
              <a:gd name="connsiteY4" fmla="*/ 6850412 h 6858000"/>
              <a:gd name="connsiteX5" fmla="*/ 1326096 w 8632154"/>
              <a:gd name="connsiteY5" fmla="*/ 5732390 h 6858000"/>
              <a:gd name="connsiteX6" fmla="*/ 2315345 w 8632154"/>
              <a:gd name="connsiteY6" fmla="*/ 3259269 h 6858000"/>
              <a:gd name="connsiteX7" fmla="*/ 4672086 w 8632154"/>
              <a:gd name="connsiteY7" fmla="*/ 2008159 h 6858000"/>
              <a:gd name="connsiteX8" fmla="*/ 5848499 w 8632154"/>
              <a:gd name="connsiteY8" fmla="*/ 9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2154" h="6858000">
                <a:moveTo>
                  <a:pt x="6050384" y="0"/>
                </a:moveTo>
                <a:lnTo>
                  <a:pt x="8632154" y="0"/>
                </a:lnTo>
                <a:lnTo>
                  <a:pt x="8632154" y="6858000"/>
                </a:lnTo>
                <a:lnTo>
                  <a:pt x="0" y="6858000"/>
                </a:lnTo>
                <a:lnTo>
                  <a:pt x="17136" y="6850412"/>
                </a:lnTo>
                <a:cubicBezTo>
                  <a:pt x="500509" y="6620261"/>
                  <a:pt x="978767" y="6201556"/>
                  <a:pt x="1326096" y="5732390"/>
                </a:cubicBezTo>
                <a:cubicBezTo>
                  <a:pt x="1789202" y="5106837"/>
                  <a:pt x="1757679" y="3879973"/>
                  <a:pt x="2315345" y="3259269"/>
                </a:cubicBezTo>
                <a:cubicBezTo>
                  <a:pt x="2873010" y="2638564"/>
                  <a:pt x="4167763" y="2560976"/>
                  <a:pt x="4672086" y="2008159"/>
                </a:cubicBezTo>
                <a:cubicBezTo>
                  <a:pt x="5085790" y="1554678"/>
                  <a:pt x="4955167" y="563510"/>
                  <a:pt x="5848499" y="90459"/>
                </a:cubicBezTo>
                <a:close/>
              </a:path>
            </a:pathLst>
          </a:custGeom>
          <a:gradFill>
            <a:gsLst>
              <a:gs pos="10000">
                <a:srgbClr val="51A7C2"/>
              </a:gs>
              <a:gs pos="100000">
                <a:srgbClr val="B5F6D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Calibri" panose="020F0502020204030204" pitchFamily="34" charset="0"/>
            </a:endParaRPr>
          </a:p>
        </p:txBody>
      </p:sp>
      <p:sp>
        <p:nvSpPr>
          <p:cNvPr id="8" name="Hộp Văn bản 7">
            <a:extLst>
              <a:ext uri="{FF2B5EF4-FFF2-40B4-BE49-F238E27FC236}">
                <a16:creationId xmlns:a16="http://schemas.microsoft.com/office/drawing/2014/main" id="{FAE7019D-DF7D-BD8D-8724-BE12E2D90A46}"/>
              </a:ext>
            </a:extLst>
          </p:cNvPr>
          <p:cNvSpPr txBox="1"/>
          <p:nvPr/>
        </p:nvSpPr>
        <p:spPr>
          <a:xfrm>
            <a:off x="1118423" y="947057"/>
            <a:ext cx="5447069" cy="4963885"/>
          </a:xfrm>
          <a:prstGeom prst="rect">
            <a:avLst/>
          </a:prstGeom>
        </p:spPr>
        <p:txBody>
          <a:bodyPr vert="horz" lIns="91440" tIns="45720" rIns="91440" bIns="45720" rtlCol="0">
            <a:noAutofit/>
          </a:bodyPr>
          <a:lstStyle/>
          <a:p>
            <a:pPr>
              <a:lnSpc>
                <a:spcPct val="90000"/>
              </a:lnSpc>
              <a:spcBef>
                <a:spcPts val="1000"/>
              </a:spcBef>
              <a:buClr>
                <a:schemeClr val="bg2">
                  <a:lumMod val="40000"/>
                  <a:lumOff val="60000"/>
                </a:schemeClr>
              </a:buClr>
              <a:buSzPct val="80000"/>
              <a:buFont typeface="Wingdings 3" charset="2"/>
              <a:buChar char=""/>
            </a:pPr>
            <a:endParaRPr lang="en-US" sz="2000">
              <a:latin typeface="Arial" panose="020B0604020202020204" pitchFamily="34" charset="0"/>
              <a:ea typeface="+mj-ea"/>
              <a:cs typeface="Arial" panose="020B0604020202020204" pitchFamily="34" charset="0"/>
            </a:endParaRPr>
          </a:p>
          <a:p>
            <a:pPr marL="285750" indent="-285750">
              <a:lnSpc>
                <a:spcPct val="90000"/>
              </a:lnSpc>
              <a:spcBef>
                <a:spcPts val="1000"/>
              </a:spcBef>
              <a:buClr>
                <a:schemeClr val="bg2">
                  <a:lumMod val="40000"/>
                  <a:lumOff val="60000"/>
                </a:schemeClr>
              </a:buClr>
              <a:buSzPct val="80000"/>
              <a:buFont typeface="Wingdings 3" charset="2"/>
              <a:buChar char=""/>
            </a:pPr>
            <a:r>
              <a:rPr lang="en-US" sz="2000" u="sng">
                <a:latin typeface="Arial" panose="020B0604020202020204" pitchFamily="34" charset="0"/>
                <a:ea typeface="+mj-ea"/>
                <a:cs typeface="Arial" panose="020B0604020202020204" pitchFamily="34" charset="0"/>
              </a:rPr>
              <a:t>Giá trị CA19-9: </a:t>
            </a:r>
          </a:p>
          <a:p>
            <a:pPr marL="742950" lvl="1" indent="-285750">
              <a:lnSpc>
                <a:spcPct val="90000"/>
              </a:lnSpc>
              <a:spcBef>
                <a:spcPts val="1000"/>
              </a:spcBef>
              <a:buClr>
                <a:srgbClr val="56ABC3"/>
              </a:buClr>
              <a:buSzPct val="80000"/>
              <a:buFont typeface="Wingdings 3" charset="2"/>
              <a:buChar char=""/>
            </a:pPr>
            <a:r>
              <a:rPr lang="en-US" sz="2000">
                <a:latin typeface="Arial" panose="020B0604020202020204" pitchFamily="34" charset="0"/>
                <a:ea typeface="+mj-ea"/>
                <a:cs typeface="Arial" panose="020B0604020202020204" pitchFamily="34" charset="0"/>
              </a:rPr>
              <a:t>Tăng trong 75% trường hợp ung thư quanh bóng Vater</a:t>
            </a:r>
          </a:p>
          <a:p>
            <a:pPr marL="742950" lvl="1" indent="-285750">
              <a:lnSpc>
                <a:spcPct val="90000"/>
              </a:lnSpc>
              <a:spcBef>
                <a:spcPts val="1000"/>
              </a:spcBef>
              <a:buClr>
                <a:srgbClr val="56ABC3"/>
              </a:buClr>
              <a:buSzPct val="80000"/>
              <a:buFont typeface="Wingdings 3" charset="2"/>
              <a:buChar char=""/>
            </a:pPr>
            <a:r>
              <a:rPr lang="en-US" sz="2000">
                <a:latin typeface="Arial" panose="020B0604020202020204" pitchFamily="34" charset="0"/>
                <a:ea typeface="+mj-ea"/>
                <a:cs typeface="Arial" panose="020B0604020202020204" pitchFamily="34" charset="0"/>
              </a:rPr>
              <a:t>Bình thường: &lt; 37IU/mL</a:t>
            </a:r>
          </a:p>
          <a:p>
            <a:pPr marL="742950" lvl="1" indent="-285750">
              <a:lnSpc>
                <a:spcPct val="90000"/>
              </a:lnSpc>
              <a:spcBef>
                <a:spcPts val="1000"/>
              </a:spcBef>
              <a:buClr>
                <a:srgbClr val="56ABC3"/>
              </a:buClr>
              <a:buSzPct val="80000"/>
              <a:buFont typeface="Wingdings 3" charset="2"/>
              <a:buChar char=""/>
            </a:pPr>
            <a:r>
              <a:rPr lang="en-US" sz="2000">
                <a:latin typeface="Arial" panose="020B0604020202020204" pitchFamily="34" charset="0"/>
                <a:ea typeface="+mj-ea"/>
                <a:cs typeface="Arial" panose="020B0604020202020204" pitchFamily="34" charset="0"/>
              </a:rPr>
              <a:t>Ngưỡng: 37IU/L với độ nhạy 81%, độ dặc hiệu 90% và giá trị tiên đoán dương 72% đối với K quanh bóng Vater. </a:t>
            </a:r>
          </a:p>
          <a:p>
            <a:pPr marL="742950" lvl="1" indent="-285750">
              <a:lnSpc>
                <a:spcPct val="90000"/>
              </a:lnSpc>
              <a:spcBef>
                <a:spcPts val="1000"/>
              </a:spcBef>
              <a:buClr>
                <a:srgbClr val="56ABC3"/>
              </a:buClr>
              <a:buSzPct val="80000"/>
              <a:buFont typeface="Wingdings 3" charset="2"/>
              <a:buChar char=""/>
            </a:pPr>
            <a:r>
              <a:rPr lang="en-US" sz="2000">
                <a:latin typeface="Arial" panose="020B0604020202020204" pitchFamily="34" charset="0"/>
                <a:ea typeface="+mj-ea"/>
                <a:cs typeface="Arial" panose="020B0604020202020204" pitchFamily="34" charset="0"/>
              </a:rPr>
              <a:t>Nồng độ CA19-9 &gt; 100UI/mL: độ nhạy 68%, độ đặc hiệu 98%, giá trị tiên đoán dương 89% với K tụy. </a:t>
            </a:r>
          </a:p>
          <a:p>
            <a:pPr marL="742950" lvl="1" indent="-285750">
              <a:lnSpc>
                <a:spcPct val="90000"/>
              </a:lnSpc>
              <a:spcBef>
                <a:spcPts val="1000"/>
              </a:spcBef>
              <a:buClr>
                <a:srgbClr val="56ABC3"/>
              </a:buClr>
              <a:buSzPct val="80000"/>
              <a:buFont typeface="Wingdings 3" charset="2"/>
              <a:buChar char=""/>
            </a:pPr>
            <a:r>
              <a:rPr lang="en-US" sz="2000">
                <a:latin typeface="Arial" panose="020B0604020202020204" pitchFamily="34" charset="0"/>
                <a:ea typeface="+mj-ea"/>
                <a:cs typeface="Arial" panose="020B0604020202020204" pitchFamily="34" charset="0"/>
              </a:rPr>
              <a:t>Vai trò chính yếu là theo dõi và tiên lượng: nồng độ CA19-9 trở về bình thường sau 2 tuần cắt u.</a:t>
            </a:r>
          </a:p>
        </p:txBody>
      </p:sp>
      <p:pic>
        <p:nvPicPr>
          <p:cNvPr id="9" name="Picture 2">
            <a:extLst>
              <a:ext uri="{FF2B5EF4-FFF2-40B4-BE49-F238E27FC236}">
                <a16:creationId xmlns:a16="http://schemas.microsoft.com/office/drawing/2014/main" id="{C8A5490D-AB7E-26B6-D50C-3764EECA6607}"/>
              </a:ext>
            </a:extLst>
          </p:cNvPr>
          <p:cNvPicPr>
            <a:picLocks noChangeAspect="1"/>
          </p:cNvPicPr>
          <p:nvPr/>
        </p:nvPicPr>
        <p:blipFill>
          <a:blip r:embed="rId6"/>
          <a:stretch>
            <a:fillRect/>
          </a:stretch>
        </p:blipFill>
        <p:spPr>
          <a:xfrm>
            <a:off x="7179149" y="1458959"/>
            <a:ext cx="4413956" cy="4720807"/>
          </a:xfrm>
          <a:prstGeom prst="rect">
            <a:avLst/>
          </a:prstGeom>
          <a:effectLst>
            <a:outerShdw blurRad="50800" dist="38100" dir="5400000" algn="t" rotWithShape="0">
              <a:prstClr val="black">
                <a:alpha val="43000"/>
              </a:prstClr>
            </a:outerShdw>
          </a:effectLst>
        </p:spPr>
      </p:pic>
    </p:spTree>
    <p:extLst>
      <p:ext uri="{BB962C8B-B14F-4D97-AF65-F5344CB8AC3E}">
        <p14:creationId xmlns:p14="http://schemas.microsoft.com/office/powerpoint/2010/main" val="203627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Mk8YQCQrgOjvDzQSPsj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mHWw.4FE5N0.lqUzvQv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Mk8YQCQrgOjvDzQSPsj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Mk8YQCQrgOjvDzQSPsj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mHWw.4FE5N0.lqUzvQv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hủ đề1">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Chủ đề1" id="{BFD5B1E6-18E2-4853-A083-2D1EC043242B}" vid="{32137302-6616-4818-9F1D-115B4A425CE1}"/>
    </a:ext>
  </a:extLst>
</a:theme>
</file>

<file path=ppt/theme/theme3.xml><?xml version="1.0" encoding="utf-8"?>
<a:theme xmlns:a="http://schemas.openxmlformats.org/drawingml/2006/main" name="Chủ đề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on</Template>
  <TotalTime>190</TotalTime>
  <Words>7145</Words>
  <Application>Microsoft Macintosh PowerPoint</Application>
  <PresentationFormat>Widescreen</PresentationFormat>
  <Paragraphs>524</Paragraphs>
  <Slides>51</Slides>
  <Notes>48</Notes>
  <HiddenSlides>1</HiddenSlides>
  <MMClips>1</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51</vt:i4>
      </vt:variant>
    </vt:vector>
  </HeadingPairs>
  <TitlesOfParts>
    <vt:vector size="78" baseType="lpstr">
      <vt:lpstr>-apple-system</vt:lpstr>
      <vt:lpstr>Aria  l</vt:lpstr>
      <vt:lpstr>Aria l</vt:lpstr>
      <vt:lpstr>Arial   (Body)</vt:lpstr>
      <vt:lpstr>Arial  (Body)</vt:lpstr>
      <vt:lpstr>Arial (Body)</vt:lpstr>
      <vt:lpstr>BlinkMacSystemFont</vt:lpstr>
      <vt:lpstr>arial</vt:lpstr>
      <vt:lpstr>arial</vt:lpstr>
      <vt:lpstr>Calibri</vt:lpstr>
      <vt:lpstr>Calibri Light</vt:lpstr>
      <vt:lpstr>Cambria</vt:lpstr>
      <vt:lpstr>Century Gothic</vt:lpstr>
      <vt:lpstr>Montserrat</vt:lpstr>
      <vt:lpstr>Noto Sans</vt:lpstr>
      <vt:lpstr>Open Sans</vt:lpstr>
      <vt:lpstr>Roboto</vt:lpstr>
      <vt:lpstr>Segoe UI</vt:lpstr>
      <vt:lpstr>Segoe UI Black</vt:lpstr>
      <vt:lpstr>Times New Roman</vt:lpstr>
      <vt:lpstr>Wingdings 3</vt:lpstr>
      <vt:lpstr>1_Office Theme</vt:lpstr>
      <vt:lpstr>Chủ đề1</vt:lpstr>
      <vt:lpstr>Chủ đề Office</vt:lpstr>
      <vt:lpstr>2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ƯU ĐỒ TIẾP CẬ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 Đánh giá xâm lấn, di că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UYÊN ĐỀ  U QUANH BÓNG VATER</dc:title>
  <dc:creator>Quan Nguyen - Y17</dc:creator>
  <cp:lastModifiedBy>Thai Dinh - Y17</cp:lastModifiedBy>
  <cp:revision>1</cp:revision>
  <dcterms:created xsi:type="dcterms:W3CDTF">2022-09-09T12:10:10Z</dcterms:created>
  <dcterms:modified xsi:type="dcterms:W3CDTF">2022-11-16T15:58:22Z</dcterms:modified>
</cp:coreProperties>
</file>